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8" r:id="rId1"/>
    <p:sldMasterId id="2147483648" r:id="rId2"/>
    <p:sldMasterId id="2147483703" r:id="rId3"/>
    <p:sldMasterId id="2147483745" r:id="rId4"/>
    <p:sldMasterId id="2147483753" r:id="rId5"/>
    <p:sldMasterId id="2147483759" r:id="rId6"/>
  </p:sldMasterIdLst>
  <p:notesMasterIdLst>
    <p:notesMasterId r:id="rId13"/>
  </p:notesMasterIdLst>
  <p:sldIdLst>
    <p:sldId id="1074" r:id="rId7"/>
    <p:sldId id="10124" r:id="rId8"/>
    <p:sldId id="10146" r:id="rId9"/>
    <p:sldId id="321" r:id="rId10"/>
    <p:sldId id="10122" r:id="rId11"/>
    <p:sldId id="905" r:id="rId12"/>
  </p:sldIdLst>
  <p:sldSz cx="20104100" cy="11309350"/>
  <p:notesSz cx="20104100" cy="11309350"/>
  <p:custDataLst>
    <p:tags r:id="rId14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1" userDrawn="1">
          <p15:clr>
            <a:srgbClr val="A4A3A4"/>
          </p15:clr>
        </p15:guide>
        <p15:guide id="2" pos="70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1925812-B4D6-7C7D-2CD4-5DBFA9CBB10A}" name="Karin Maingourd" initials="KM" userId="S::karin.maingourd@regionvastmanland.se::36d0d03f-2fba-4afa-b896-bf220c3d899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egin Vedad" initials="NV" lastIdx="1" clrIdx="0">
    <p:extLst>
      <p:ext uri="{19B8F6BF-5375-455C-9EA6-DF929625EA0E}">
        <p15:presenceInfo xmlns:p15="http://schemas.microsoft.com/office/powerpoint/2012/main" userId="S::negin.vedad@regionvastmanland.se::6fad7b7e-dcd8-436b-9fe5-69296c9afa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9FF99"/>
    <a:srgbClr val="9ECEC8"/>
    <a:srgbClr val="339D94"/>
    <a:srgbClr val="7ABCB4"/>
    <a:srgbClr val="DA860B"/>
    <a:srgbClr val="F5163E"/>
    <a:srgbClr val="CC00FF"/>
    <a:srgbClr val="0099FF"/>
    <a:srgbClr val="FF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llanmörkt format 2 - Dekorfär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269D01E-BC32-4049-B463-5C60D7B0CCD2}" styleName="Format med tema 2 - dekorfärg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Mellanmörkt format 2 - Dekorfär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just format 2 - Dekorfär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40" autoAdjust="0"/>
    <p:restoredTop sz="93792" autoAdjust="0"/>
  </p:normalViewPr>
  <p:slideViewPr>
    <p:cSldViewPr>
      <p:cViewPr varScale="1">
        <p:scale>
          <a:sx n="40" d="100"/>
          <a:sy n="40" d="100"/>
        </p:scale>
        <p:origin x="648" y="60"/>
      </p:cViewPr>
      <p:guideLst>
        <p:guide orient="horz" pos="931"/>
        <p:guide pos="707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68" d="100"/>
          <a:sy n="68" d="100"/>
        </p:scale>
        <p:origin x="48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1EA50A-7ED8-4297-A6D8-C39D2C596180}" type="datetimeFigureOut">
              <a:rPr lang="sv-SE" smtClean="0"/>
              <a:t>2024-10-07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33DB10-64AD-4478-BAF2-10592BD0BA8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573105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67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33DB10-64AD-4478-BAF2-10592BD0BA82}" type="slidenum">
              <a:rPr kumimoji="0" lang="sv-SE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867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sv-SE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4791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sz="110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33DB10-64AD-4478-BAF2-10592BD0BA82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0354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bg>
      <p:bgPr>
        <a:solidFill>
          <a:srgbClr val="FAED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" name="Bildobjekt 112">
            <a:extLst>
              <a:ext uri="{FF2B5EF4-FFF2-40B4-BE49-F238E27FC236}">
                <a16:creationId xmlns:a16="http://schemas.microsoft.com/office/drawing/2014/main" id="{213F865A-82E0-4DE6-BBD6-DA7B3D8F00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88" r="6671" b="4223"/>
          <a:stretch/>
        </p:blipFill>
        <p:spPr>
          <a:xfrm>
            <a:off x="10814050" y="-1"/>
            <a:ext cx="9290050" cy="11309351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57016142-5590-4F09-AF8B-DB6FD618E5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3" y="2378075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900" spc="-400" baseline="0"/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D27A8EE4-92AA-495F-86F9-6A5C4BD31B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3" y="6279773"/>
            <a:ext cx="13635037" cy="2406650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  <p:sp>
        <p:nvSpPr>
          <p:cNvPr id="115" name="object 38">
            <a:extLst>
              <a:ext uri="{FF2B5EF4-FFF2-40B4-BE49-F238E27FC236}">
                <a16:creationId xmlns:a16="http://schemas.microsoft.com/office/drawing/2014/main" id="{9BDBBCB9-81A0-4B48-8D85-87FE05F29E71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321304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13">
            <a:extLst>
              <a:ext uri="{FF2B5EF4-FFF2-40B4-BE49-F238E27FC236}">
                <a16:creationId xmlns:a16="http://schemas.microsoft.com/office/drawing/2014/main" id="{7E25708F-A6F2-4D28-886A-05F63F7F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3" r="88989" b="40999"/>
          <a:stretch/>
        </p:blipFill>
        <p:spPr>
          <a:xfrm>
            <a:off x="19008000" y="0"/>
            <a:ext cx="1096100" cy="2395475"/>
          </a:xfrm>
          <a:prstGeom prst="rect">
            <a:avLst/>
          </a:prstGeom>
        </p:spPr>
      </p:pic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877615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EB7B88AC-ED67-40FC-B207-9A82E4376643}"/>
              </a:ext>
            </a:extLst>
          </p:cNvPr>
          <p:cNvSpPr/>
          <p:nvPr userDrawn="1"/>
        </p:nvSpPr>
        <p:spPr>
          <a:xfrm>
            <a:off x="1245600" y="2491200"/>
            <a:ext cx="17618400" cy="79236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0" y="2491200"/>
            <a:ext cx="17618400" cy="7923600"/>
          </a:xfrm>
          <a:noFill/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1" name="Platshållare för text 6">
            <a:extLst>
              <a:ext uri="{FF2B5EF4-FFF2-40B4-BE49-F238E27FC236}">
                <a16:creationId xmlns:a16="http://schemas.microsoft.com/office/drawing/2014/main" id="{7C6CF22E-C600-40EB-BB5D-A71AE04A4C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0" y="8791200"/>
            <a:ext cx="1987200" cy="19872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25363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vå del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93B712EA-797A-4EA2-BEB0-D486B28AB1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70C7B567-D67A-42BC-B7FD-E667F05832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221911" y="3406775"/>
            <a:ext cx="8638421" cy="597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EB806AAA-D73D-4CEE-9B56-C22AE8A537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674" t="51033" b="-60375"/>
          <a:stretch/>
        </p:blipFill>
        <p:spPr>
          <a:xfrm>
            <a:off x="-19050" y="6264274"/>
            <a:ext cx="1260000" cy="5045075"/>
          </a:xfrm>
          <a:prstGeom prst="rect">
            <a:avLst/>
          </a:prstGeom>
        </p:spPr>
      </p:pic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390AB69-5BC0-46B0-B233-B8ED7CBC0C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2-03-21</a:t>
            </a:r>
            <a:endParaRPr lang="en-US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E6FFAF7-903A-4658-BEDF-CDBF6357E3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432E55E-6E21-45F6-AFF0-C03FD2EA4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91A92F-5622-40E4-B88A-05148A900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519744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2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Bildobjekt 71">
            <a:extLst>
              <a:ext uri="{FF2B5EF4-FFF2-40B4-BE49-F238E27FC236}">
                <a16:creationId xmlns:a16="http://schemas.microsoft.com/office/drawing/2014/main" id="{F9214C34-71FC-4B3B-B2DA-532B9C36A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04" t="51088" b="-60520"/>
          <a:stretch/>
        </p:blipFill>
        <p:spPr>
          <a:xfrm>
            <a:off x="0" y="6264274"/>
            <a:ext cx="1247156" cy="5045075"/>
          </a:xfrm>
          <a:prstGeom prst="rect">
            <a:avLst/>
          </a:prstGeom>
        </p:spPr>
      </p:pic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ACC9BDD-2A63-4704-82E4-11575AE255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7763FE-5C0D-4543-80BD-2B9936FC6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E9CB98B-6CDA-4906-9342-37A4C0ABF2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221911" y="3406775"/>
            <a:ext cx="8638421" cy="5976000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FC9495B9-D494-4909-B0F6-C282E34AD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F15F43-7351-4340-AB7C-1EB441B903A0}" type="datetime1">
              <a:rPr lang="sv-SE" smtClean="0"/>
              <a:t>2024-10-04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040E90E-D655-44FC-9710-9E80B04524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8CD1362-079A-44DB-8854-F2DD36BF5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629252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D5FBC21F-AA3A-4105-A762-7A4A8EE1E9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64" b="4216"/>
          <a:stretch/>
        </p:blipFill>
        <p:spPr>
          <a:xfrm>
            <a:off x="10814401" y="0"/>
            <a:ext cx="9289700" cy="11309350"/>
          </a:xfrm>
          <a:prstGeom prst="rect">
            <a:avLst/>
          </a:prstGeom>
        </p:spPr>
      </p:pic>
      <p:sp>
        <p:nvSpPr>
          <p:cNvPr id="7" name="object 38">
            <a:extLst>
              <a:ext uri="{FF2B5EF4-FFF2-40B4-BE49-F238E27FC236}">
                <a16:creationId xmlns:a16="http://schemas.microsoft.com/office/drawing/2014/main" id="{58F464F6-1029-4CBD-B3D1-11214085E2B8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03BB08C3-1CD7-4C53-9E96-43671982CE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3" y="2378075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900" spc="-400" baseline="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9" name="Underrubrik 2">
            <a:extLst>
              <a:ext uri="{FF2B5EF4-FFF2-40B4-BE49-F238E27FC236}">
                <a16:creationId xmlns:a16="http://schemas.microsoft.com/office/drawing/2014/main" id="{78CC841C-AA65-43FA-BB0E-1A120EBFED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3" y="6279773"/>
            <a:ext cx="13635037" cy="24066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2587314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id="{6EBC20DB-E92A-4595-958F-8F6E1877F2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</p:spPr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12" name="Platshållare för sidfot 4">
            <a:extLst>
              <a:ext uri="{FF2B5EF4-FFF2-40B4-BE49-F238E27FC236}">
                <a16:creationId xmlns:a16="http://schemas.microsoft.com/office/drawing/2014/main" id="{5382FAD0-A98D-43B4-B432-3582AE5A57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3903" y="478617"/>
            <a:ext cx="7704000" cy="187200"/>
          </a:xfrm>
        </p:spPr>
        <p:txBody>
          <a:bodyPr/>
          <a:lstStyle/>
          <a:p>
            <a:endParaRPr lang="sv-SE"/>
          </a:p>
        </p:txBody>
      </p:sp>
      <p:sp>
        <p:nvSpPr>
          <p:cNvPr id="13" name="Platshållare för bildnummer 5">
            <a:extLst>
              <a:ext uri="{FF2B5EF4-FFF2-40B4-BE49-F238E27FC236}">
                <a16:creationId xmlns:a16="http://schemas.microsoft.com/office/drawing/2014/main" id="{50F28032-0600-4C8E-B007-13E1C8110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0" cy="187200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55FC54DA-D224-4D4F-9D60-B924CADB66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7" b="40999"/>
          <a:stretch/>
        </p:blipFill>
        <p:spPr>
          <a:xfrm>
            <a:off x="19008000" y="0"/>
            <a:ext cx="1096100" cy="3216275"/>
          </a:xfrm>
          <a:prstGeom prst="rect">
            <a:avLst/>
          </a:prstGeom>
        </p:spPr>
      </p:pic>
      <p:sp>
        <p:nvSpPr>
          <p:cNvPr id="15" name="Platshållare för text 10">
            <a:extLst>
              <a:ext uri="{FF2B5EF4-FFF2-40B4-BE49-F238E27FC236}">
                <a16:creationId xmlns:a16="http://schemas.microsoft.com/office/drawing/2014/main" id="{36B6AA50-8739-41DE-A23A-5E3ECC5482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5600" y="3399671"/>
            <a:ext cx="17618075" cy="5983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F4246BC-36B1-4971-8889-F163FD2A0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7776257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93B712EA-797A-4EA2-BEB0-D486B28AB1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70C7B567-D67A-42BC-B7FD-E667F05832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221911" y="3406775"/>
            <a:ext cx="8638421" cy="597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EB806AAA-D73D-4CEE-9B56-C22AE8A537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674" t="51033" b="-60375"/>
          <a:stretch/>
        </p:blipFill>
        <p:spPr>
          <a:xfrm>
            <a:off x="-19050" y="6264274"/>
            <a:ext cx="1260000" cy="5045075"/>
          </a:xfrm>
          <a:prstGeom prst="rect">
            <a:avLst/>
          </a:prstGeom>
        </p:spPr>
      </p:pic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390AB69-5BC0-46B0-B233-B8ED7CBC0C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E6FFAF7-903A-4658-BEDF-CDBF6357E3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432E55E-6E21-45F6-AFF0-C03FD2EA4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91A92F-5622-40E4-B88A-05148A900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423725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>
            <a:extLst>
              <a:ext uri="{FF2B5EF4-FFF2-40B4-BE49-F238E27FC236}">
                <a16:creationId xmlns:a16="http://schemas.microsoft.com/office/drawing/2014/main" id="{88FBE5C1-E706-49C0-BC48-7432DD5937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6239526" cy="979200"/>
          </a:xfrm>
          <a:prstGeom prst="rect">
            <a:avLst/>
          </a:prstGeom>
        </p:spPr>
      </p:pic>
      <p:sp>
        <p:nvSpPr>
          <p:cNvPr id="14" name="object 38">
            <a:extLst>
              <a:ext uri="{FF2B5EF4-FFF2-40B4-BE49-F238E27FC236}">
                <a16:creationId xmlns:a16="http://schemas.microsoft.com/office/drawing/2014/main" id="{1A5E282F-FC28-45E5-81A7-A28557C59E47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F19CC616-6A81-4F3E-BF5F-34271257EE9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50D26B19-8998-4002-9818-0406EEBB00B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90D7DA48-029C-41BC-BD3D-A195A10DF34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1345448-A017-46A4-AAEE-65BAAA13935B}"/>
              </a:ext>
            </a:extLst>
          </p:cNvPr>
          <p:cNvSpPr/>
          <p:nvPr userDrawn="1"/>
        </p:nvSpPr>
        <p:spPr>
          <a:xfrm>
            <a:off x="10404000" y="702000"/>
            <a:ext cx="9007200" cy="9907200"/>
          </a:xfrm>
          <a:prstGeom prst="rect">
            <a:avLst/>
          </a:prstGeom>
          <a:solidFill>
            <a:srgbClr val="DCE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61A0B5-3A30-4187-8CDB-DBD6610369E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2000"/>
            <a:ext cx="9007200" cy="99072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5" name="Platshållare för text 2">
            <a:extLst>
              <a:ext uri="{FF2B5EF4-FFF2-40B4-BE49-F238E27FC236}">
                <a16:creationId xmlns:a16="http://schemas.microsoft.com/office/drawing/2014/main" id="{3DEFBAF8-794C-4460-BDFB-4AFAF7A4B3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4" cy="540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9" name="Rubrik 7">
            <a:extLst>
              <a:ext uri="{FF2B5EF4-FFF2-40B4-BE49-F238E27FC236}">
                <a16:creationId xmlns:a16="http://schemas.microsoft.com/office/drawing/2014/main" id="{6A68B911-846D-40C0-89C1-092024565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7"/>
            <a:ext cx="7828734" cy="204364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494721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7EC5BF2F-A06E-4DBE-BE34-10563FBAB941}"/>
              </a:ext>
            </a:extLst>
          </p:cNvPr>
          <p:cNvSpPr/>
          <p:nvPr userDrawn="1"/>
        </p:nvSpPr>
        <p:spPr>
          <a:xfrm>
            <a:off x="1245600" y="2491200"/>
            <a:ext cx="17618400" cy="7923600"/>
          </a:xfrm>
          <a:prstGeom prst="rect">
            <a:avLst/>
          </a:prstGeom>
          <a:solidFill>
            <a:srgbClr val="DCE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6D3E448-F04D-42F2-A71F-AB7E9594DFA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0" y="2491200"/>
            <a:ext cx="17618400" cy="79236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pic>
        <p:nvPicPr>
          <p:cNvPr id="19" name="Bildobjekt 18">
            <a:extLst>
              <a:ext uri="{FF2B5EF4-FFF2-40B4-BE49-F238E27FC236}">
                <a16:creationId xmlns:a16="http://schemas.microsoft.com/office/drawing/2014/main" id="{1F92EFCA-73A8-4BBA-8B6E-84A5162570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66" r="88987" b="40999"/>
          <a:stretch/>
        </p:blipFill>
        <p:spPr>
          <a:xfrm>
            <a:off x="19008000" y="0"/>
            <a:ext cx="1096100" cy="2393950"/>
          </a:xfrm>
          <a:prstGeom prst="rect">
            <a:avLst/>
          </a:prstGeom>
        </p:spPr>
      </p:pic>
      <p:sp>
        <p:nvSpPr>
          <p:cNvPr id="21" name="Rubrik 12">
            <a:extLst>
              <a:ext uri="{FF2B5EF4-FFF2-40B4-BE49-F238E27FC236}">
                <a16:creationId xmlns:a16="http://schemas.microsoft.com/office/drawing/2014/main" id="{56F830A9-B7E5-4459-9325-1EB46228A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877615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2" name="Platshållare för text 6">
            <a:extLst>
              <a:ext uri="{FF2B5EF4-FFF2-40B4-BE49-F238E27FC236}">
                <a16:creationId xmlns:a16="http://schemas.microsoft.com/office/drawing/2014/main" id="{75DB120C-DE3F-4D0F-9C20-C0178B697A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0" y="8791200"/>
            <a:ext cx="1987200" cy="1987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209B9E0E-3BE5-4815-9771-B94D5C0DE4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6EF21FC5-B1ED-41D6-83B6-FD9D859FF93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4605CF9C-A296-49D6-8F7C-7E99496CBAC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70029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58" userDrawn="1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Bildobjekt 116">
            <a:extLst>
              <a:ext uri="{FF2B5EF4-FFF2-40B4-BE49-F238E27FC236}">
                <a16:creationId xmlns:a16="http://schemas.microsoft.com/office/drawing/2014/main" id="{33477E7E-42C3-4788-A1BB-FDC82EC59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74" b="4216"/>
          <a:stretch/>
        </p:blipFill>
        <p:spPr>
          <a:xfrm>
            <a:off x="10814400" y="0"/>
            <a:ext cx="9289700" cy="11309350"/>
          </a:xfrm>
          <a:prstGeom prst="rect">
            <a:avLst/>
          </a:prstGeom>
        </p:spPr>
      </p:pic>
      <p:sp>
        <p:nvSpPr>
          <p:cNvPr id="118" name="object 38">
            <a:extLst>
              <a:ext uri="{FF2B5EF4-FFF2-40B4-BE49-F238E27FC236}">
                <a16:creationId xmlns:a16="http://schemas.microsoft.com/office/drawing/2014/main" id="{72F77CA4-0BCE-4432-8426-61300A583404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9" name="Rubrik 1">
            <a:extLst>
              <a:ext uri="{FF2B5EF4-FFF2-40B4-BE49-F238E27FC236}">
                <a16:creationId xmlns:a16="http://schemas.microsoft.com/office/drawing/2014/main" id="{656A818D-9B35-4279-A10A-068A34BAA2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5" y="2378076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899" spc="-401" baseline="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120" name="Underrubrik 2">
            <a:extLst>
              <a:ext uri="{FF2B5EF4-FFF2-40B4-BE49-F238E27FC236}">
                <a16:creationId xmlns:a16="http://schemas.microsoft.com/office/drawing/2014/main" id="{3DE99F72-0CDC-477B-85F2-1E356EF224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5" y="6279774"/>
            <a:ext cx="13635037" cy="2406650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179" indent="0" algn="ctr">
              <a:buNone/>
              <a:defRPr sz="2000"/>
            </a:lvl2pPr>
            <a:lvl3pPr marL="914357" indent="0" algn="ctr">
              <a:buNone/>
              <a:defRPr sz="1801"/>
            </a:lvl3pPr>
            <a:lvl4pPr marL="1371536" indent="0" algn="ctr">
              <a:buNone/>
              <a:defRPr sz="1600"/>
            </a:lvl4pPr>
            <a:lvl5pPr marL="1828715" indent="0" algn="ctr">
              <a:buNone/>
              <a:defRPr sz="1600"/>
            </a:lvl5pPr>
            <a:lvl6pPr marL="2285893" indent="0" algn="ctr">
              <a:buNone/>
              <a:defRPr sz="1600"/>
            </a:lvl6pPr>
            <a:lvl7pPr marL="2743072" indent="0" algn="ctr">
              <a:buNone/>
              <a:defRPr sz="1600"/>
            </a:lvl7pPr>
            <a:lvl8pPr marL="3200252" indent="0" algn="ctr">
              <a:buNone/>
              <a:defRPr sz="1600"/>
            </a:lvl8pPr>
            <a:lvl9pPr marL="3657431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35652629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15">
            <a:extLst>
              <a:ext uri="{FF2B5EF4-FFF2-40B4-BE49-F238E27FC236}">
                <a16:creationId xmlns:a16="http://schemas.microsoft.com/office/drawing/2014/main" id="{4A2BB9E4-4D0C-429C-86B2-73D19EAEC8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9" b="40999"/>
          <a:stretch/>
        </p:blipFill>
        <p:spPr>
          <a:xfrm>
            <a:off x="19008000" y="0"/>
            <a:ext cx="1096101" cy="3216275"/>
          </a:xfrm>
          <a:prstGeom prst="rect">
            <a:avLst/>
          </a:prstGeom>
        </p:spPr>
      </p:pic>
      <p:sp>
        <p:nvSpPr>
          <p:cNvPr id="17" name="Platshållare för text 10">
            <a:extLst>
              <a:ext uri="{FF2B5EF4-FFF2-40B4-BE49-F238E27FC236}">
                <a16:creationId xmlns:a16="http://schemas.microsoft.com/office/drawing/2014/main" id="{C9E204E3-63A1-4474-A22C-5B6EBCE2E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399670"/>
            <a:ext cx="17616566" cy="59832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9A8E34-5052-4F38-988C-0D97C6615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307201E-B19A-4211-B823-348FBA9EC29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0AA7B2E-985F-4673-A4FB-6FC32C2C34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B649E5A-1919-43B2-BBF2-01932005A4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942265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E90990-52D6-401D-B150-7B54C65809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2F10B09-3181-4055-A46D-4599230801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14280DC-5966-49BD-AB8E-60113DB565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0409115-4960-4246-9D14-439564AD9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14FA10E6-DC00-4A4C-A2EE-A3F53C17D5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60" r="88999" b="40995"/>
          <a:stretch/>
        </p:blipFill>
        <p:spPr>
          <a:xfrm>
            <a:off x="19009056" y="1"/>
            <a:ext cx="1095044" cy="3216274"/>
          </a:xfrm>
          <a:prstGeom prst="rect">
            <a:avLst/>
          </a:prstGeom>
        </p:spPr>
      </p:pic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7A2CC002-8FB6-40A7-A6F3-C046623D47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43766" y="3399671"/>
            <a:ext cx="17616566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0743160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18">
            <a:extLst>
              <a:ext uri="{FF2B5EF4-FFF2-40B4-BE49-F238E27FC236}">
                <a16:creationId xmlns:a16="http://schemas.microsoft.com/office/drawing/2014/main" id="{3137100E-AD01-4413-A769-147ED2DBD7FF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6" name="AutoShape 18">
            <a:extLst>
              <a:ext uri="{FF2B5EF4-FFF2-40B4-BE49-F238E27FC236}">
                <a16:creationId xmlns:a16="http://schemas.microsoft.com/office/drawing/2014/main" id="{72A7E8A6-C02F-4DDB-893A-A2DE3452A3B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52400" y="152401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7" name="AutoShape 18">
            <a:extLst>
              <a:ext uri="{FF2B5EF4-FFF2-40B4-BE49-F238E27FC236}">
                <a16:creationId xmlns:a16="http://schemas.microsoft.com/office/drawing/2014/main" id="{B680042A-CED3-424E-BC74-1F9AD53398B7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304800" y="30480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8" name="Platshållare för innehåll 2">
            <a:extLst>
              <a:ext uri="{FF2B5EF4-FFF2-40B4-BE49-F238E27FC236}">
                <a16:creationId xmlns:a16="http://schemas.microsoft.com/office/drawing/2014/main" id="{EDEB1E76-DA8C-4821-B2EB-EED0A44C49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4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90" name="Bildobjekt 89">
            <a:extLst>
              <a:ext uri="{FF2B5EF4-FFF2-40B4-BE49-F238E27FC236}">
                <a16:creationId xmlns:a16="http://schemas.microsoft.com/office/drawing/2014/main" id="{52C1F324-DEFA-416F-B72F-6051C31AF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1" t="51033" b="-60375"/>
          <a:stretch/>
        </p:blipFill>
        <p:spPr>
          <a:xfrm>
            <a:off x="1" y="6264278"/>
            <a:ext cx="1238643" cy="5045073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99169CA-2D7A-43B7-AB45-92143F3B1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266FDE-E7E1-4894-A463-420093AA5D7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10221916" y="3406776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0AFD0371-4BC2-4B1E-AF08-C39AD685810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9B503087-80B1-4939-BF99-75E89592FC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67DA98C4-0904-4159-B0D2-48927D0D4B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708612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Bildobjekt 115">
            <a:extLst>
              <a:ext uri="{FF2B5EF4-FFF2-40B4-BE49-F238E27FC236}">
                <a16:creationId xmlns:a16="http://schemas.microsoft.com/office/drawing/2014/main" id="{C737B2F4-9EA7-4502-85F3-D663E2EA0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6239526" cy="979200"/>
          </a:xfrm>
          <a:prstGeom prst="rect">
            <a:avLst/>
          </a:prstGeom>
        </p:spPr>
      </p:pic>
      <p:sp>
        <p:nvSpPr>
          <p:cNvPr id="17" name="object 38">
            <a:extLst>
              <a:ext uri="{FF2B5EF4-FFF2-40B4-BE49-F238E27FC236}">
                <a16:creationId xmlns:a16="http://schemas.microsoft.com/office/drawing/2014/main" id="{ED408A77-E9D9-4ECD-9EAC-8F17AA6FF688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3" name="Platshållare för sidfot 5">
            <a:extLst>
              <a:ext uri="{FF2B5EF4-FFF2-40B4-BE49-F238E27FC236}">
                <a16:creationId xmlns:a16="http://schemas.microsoft.com/office/drawing/2014/main" id="{BB34CA2A-42E7-429D-A977-94E73516A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3903" y="478617"/>
            <a:ext cx="7703999" cy="1872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12" name="Platshållare för datum 4">
            <a:extLst>
              <a:ext uri="{FF2B5EF4-FFF2-40B4-BE49-F238E27FC236}">
                <a16:creationId xmlns:a16="http://schemas.microsoft.com/office/drawing/2014/main" id="{D2CC2258-1CAC-42DF-AA86-10F59DEC7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</p:spPr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114" name="Platshållare för bildnummer 6">
            <a:extLst>
              <a:ext uri="{FF2B5EF4-FFF2-40B4-BE49-F238E27FC236}">
                <a16:creationId xmlns:a16="http://schemas.microsoft.com/office/drawing/2014/main" id="{0CFDA38F-887E-4A37-9D96-25B2B6B67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1" cy="187200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5E9C919A-0768-457E-8FE4-A8E97EA955FB}"/>
              </a:ext>
            </a:extLst>
          </p:cNvPr>
          <p:cNvSpPr/>
          <p:nvPr userDrawn="1"/>
        </p:nvSpPr>
        <p:spPr>
          <a:xfrm>
            <a:off x="10404000" y="702000"/>
            <a:ext cx="9007201" cy="99072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A9A918AC-8D77-44A2-A4FE-5285D4086A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2000"/>
            <a:ext cx="9007201" cy="99072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4" name="Platshållare för text 2">
            <a:extLst>
              <a:ext uri="{FF2B5EF4-FFF2-40B4-BE49-F238E27FC236}">
                <a16:creationId xmlns:a16="http://schemas.microsoft.com/office/drawing/2014/main" id="{F2DA647D-DDF5-4570-9F2E-0535FAD82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5" cy="5400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7" name="Rubrik 7">
            <a:extLst>
              <a:ext uri="{FF2B5EF4-FFF2-40B4-BE49-F238E27FC236}">
                <a16:creationId xmlns:a16="http://schemas.microsoft.com/office/drawing/2014/main" id="{A8C94F33-3648-4C31-AEF3-2EBA53858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7828735" cy="204364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206017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13">
            <a:extLst>
              <a:ext uri="{FF2B5EF4-FFF2-40B4-BE49-F238E27FC236}">
                <a16:creationId xmlns:a16="http://schemas.microsoft.com/office/drawing/2014/main" id="{7E25708F-A6F2-4D28-886A-05F63F7F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3" r="88989" b="40999"/>
          <a:stretch/>
        </p:blipFill>
        <p:spPr>
          <a:xfrm>
            <a:off x="19008000" y="0"/>
            <a:ext cx="1096101" cy="2395475"/>
          </a:xfrm>
          <a:prstGeom prst="rect">
            <a:avLst/>
          </a:prstGeom>
        </p:spPr>
      </p:pic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877614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EB7B88AC-ED67-40FC-B207-9A82E4376643}"/>
              </a:ext>
            </a:extLst>
          </p:cNvPr>
          <p:cNvSpPr/>
          <p:nvPr userDrawn="1"/>
        </p:nvSpPr>
        <p:spPr>
          <a:xfrm>
            <a:off x="1245601" y="2491200"/>
            <a:ext cx="17618399" cy="79236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1" y="2491200"/>
            <a:ext cx="17618399" cy="7923600"/>
          </a:xfr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1" name="Platshållare för text 6">
            <a:extLst>
              <a:ext uri="{FF2B5EF4-FFF2-40B4-BE49-F238E27FC236}">
                <a16:creationId xmlns:a16="http://schemas.microsoft.com/office/drawing/2014/main" id="{7C6CF22E-C600-40EB-BB5D-A71AE04A4C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1" y="8791201"/>
            <a:ext cx="1987199" cy="19872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00255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Bildobjekt 116">
            <a:extLst>
              <a:ext uri="{FF2B5EF4-FFF2-40B4-BE49-F238E27FC236}">
                <a16:creationId xmlns:a16="http://schemas.microsoft.com/office/drawing/2014/main" id="{33477E7E-42C3-4788-A1BB-FDC82EC59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74" b="4216"/>
          <a:stretch/>
        </p:blipFill>
        <p:spPr>
          <a:xfrm>
            <a:off x="10814400" y="0"/>
            <a:ext cx="9289700" cy="11309350"/>
          </a:xfrm>
          <a:prstGeom prst="rect">
            <a:avLst/>
          </a:prstGeom>
        </p:spPr>
      </p:pic>
      <p:sp>
        <p:nvSpPr>
          <p:cNvPr id="118" name="object 38">
            <a:extLst>
              <a:ext uri="{FF2B5EF4-FFF2-40B4-BE49-F238E27FC236}">
                <a16:creationId xmlns:a16="http://schemas.microsoft.com/office/drawing/2014/main" id="{72F77CA4-0BCE-4432-8426-61300A583404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9" name="Rubrik 1">
            <a:extLst>
              <a:ext uri="{FF2B5EF4-FFF2-40B4-BE49-F238E27FC236}">
                <a16:creationId xmlns:a16="http://schemas.microsoft.com/office/drawing/2014/main" id="{656A818D-9B35-4279-A10A-068A34BAA2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5" y="2378076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899" spc="-401" baseline="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120" name="Underrubrik 2">
            <a:extLst>
              <a:ext uri="{FF2B5EF4-FFF2-40B4-BE49-F238E27FC236}">
                <a16:creationId xmlns:a16="http://schemas.microsoft.com/office/drawing/2014/main" id="{3DE99F72-0CDC-477B-85F2-1E356EF224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5" y="6279774"/>
            <a:ext cx="13635037" cy="2406650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179" indent="0" algn="ctr">
              <a:buNone/>
              <a:defRPr sz="2000"/>
            </a:lvl2pPr>
            <a:lvl3pPr marL="914357" indent="0" algn="ctr">
              <a:buNone/>
              <a:defRPr sz="1801"/>
            </a:lvl3pPr>
            <a:lvl4pPr marL="1371536" indent="0" algn="ctr">
              <a:buNone/>
              <a:defRPr sz="1600"/>
            </a:lvl4pPr>
            <a:lvl5pPr marL="1828715" indent="0" algn="ctr">
              <a:buNone/>
              <a:defRPr sz="1600"/>
            </a:lvl5pPr>
            <a:lvl6pPr marL="2285893" indent="0" algn="ctr">
              <a:buNone/>
              <a:defRPr sz="1600"/>
            </a:lvl6pPr>
            <a:lvl7pPr marL="2743072" indent="0" algn="ctr">
              <a:buNone/>
              <a:defRPr sz="1600"/>
            </a:lvl7pPr>
            <a:lvl8pPr marL="3200252" indent="0" algn="ctr">
              <a:buNone/>
              <a:defRPr sz="1600"/>
            </a:lvl8pPr>
            <a:lvl9pPr marL="3657431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22767432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15">
            <a:extLst>
              <a:ext uri="{FF2B5EF4-FFF2-40B4-BE49-F238E27FC236}">
                <a16:creationId xmlns:a16="http://schemas.microsoft.com/office/drawing/2014/main" id="{4A2BB9E4-4D0C-429C-86B2-73D19EAEC8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9" b="40999"/>
          <a:stretch/>
        </p:blipFill>
        <p:spPr>
          <a:xfrm>
            <a:off x="19008000" y="0"/>
            <a:ext cx="1096101" cy="3216275"/>
          </a:xfrm>
          <a:prstGeom prst="rect">
            <a:avLst/>
          </a:prstGeom>
        </p:spPr>
      </p:pic>
      <p:sp>
        <p:nvSpPr>
          <p:cNvPr id="17" name="Platshållare för text 10">
            <a:extLst>
              <a:ext uri="{FF2B5EF4-FFF2-40B4-BE49-F238E27FC236}">
                <a16:creationId xmlns:a16="http://schemas.microsoft.com/office/drawing/2014/main" id="{C9E204E3-63A1-4474-A22C-5B6EBCE2E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399670"/>
            <a:ext cx="17616566" cy="59832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9A8E34-5052-4F38-988C-0D97C6615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307201E-B19A-4211-B823-348FBA9EC29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0AA7B2E-985F-4673-A4FB-6FC32C2C34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B649E5A-1919-43B2-BBF2-01932005A4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700852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18">
            <a:extLst>
              <a:ext uri="{FF2B5EF4-FFF2-40B4-BE49-F238E27FC236}">
                <a16:creationId xmlns:a16="http://schemas.microsoft.com/office/drawing/2014/main" id="{3137100E-AD01-4413-A769-147ED2DBD7FF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6" name="AutoShape 18">
            <a:extLst>
              <a:ext uri="{FF2B5EF4-FFF2-40B4-BE49-F238E27FC236}">
                <a16:creationId xmlns:a16="http://schemas.microsoft.com/office/drawing/2014/main" id="{72A7E8A6-C02F-4DDB-893A-A2DE3452A3B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52400" y="152401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7" name="AutoShape 18">
            <a:extLst>
              <a:ext uri="{FF2B5EF4-FFF2-40B4-BE49-F238E27FC236}">
                <a16:creationId xmlns:a16="http://schemas.microsoft.com/office/drawing/2014/main" id="{B680042A-CED3-424E-BC74-1F9AD53398B7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304800" y="30480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8" name="Platshållare för innehåll 2">
            <a:extLst>
              <a:ext uri="{FF2B5EF4-FFF2-40B4-BE49-F238E27FC236}">
                <a16:creationId xmlns:a16="http://schemas.microsoft.com/office/drawing/2014/main" id="{EDEB1E76-DA8C-4821-B2EB-EED0A44C49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4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90" name="Bildobjekt 89">
            <a:extLst>
              <a:ext uri="{FF2B5EF4-FFF2-40B4-BE49-F238E27FC236}">
                <a16:creationId xmlns:a16="http://schemas.microsoft.com/office/drawing/2014/main" id="{52C1F324-DEFA-416F-B72F-6051C31AF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1" t="51033" b="-60375"/>
          <a:stretch/>
        </p:blipFill>
        <p:spPr>
          <a:xfrm>
            <a:off x="1" y="6264278"/>
            <a:ext cx="1238643" cy="5045073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99169CA-2D7A-43B7-AB45-92143F3B1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266FDE-E7E1-4894-A463-420093AA5D7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10221916" y="3406776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0AFD0371-4BC2-4B1E-AF08-C39AD685810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9B503087-80B1-4939-BF99-75E89592FC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67DA98C4-0904-4159-B0D2-48927D0D4B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207405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Bildobjekt 115">
            <a:extLst>
              <a:ext uri="{FF2B5EF4-FFF2-40B4-BE49-F238E27FC236}">
                <a16:creationId xmlns:a16="http://schemas.microsoft.com/office/drawing/2014/main" id="{C737B2F4-9EA7-4502-85F3-D663E2EA0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6239526" cy="979200"/>
          </a:xfrm>
          <a:prstGeom prst="rect">
            <a:avLst/>
          </a:prstGeom>
        </p:spPr>
      </p:pic>
      <p:sp>
        <p:nvSpPr>
          <p:cNvPr id="17" name="object 38">
            <a:extLst>
              <a:ext uri="{FF2B5EF4-FFF2-40B4-BE49-F238E27FC236}">
                <a16:creationId xmlns:a16="http://schemas.microsoft.com/office/drawing/2014/main" id="{ED408A77-E9D9-4ECD-9EAC-8F17AA6FF688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3" name="Platshållare för sidfot 5">
            <a:extLst>
              <a:ext uri="{FF2B5EF4-FFF2-40B4-BE49-F238E27FC236}">
                <a16:creationId xmlns:a16="http://schemas.microsoft.com/office/drawing/2014/main" id="{BB34CA2A-42E7-429D-A977-94E73516A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3903" y="478617"/>
            <a:ext cx="7703999" cy="1872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12" name="Platshållare för datum 4">
            <a:extLst>
              <a:ext uri="{FF2B5EF4-FFF2-40B4-BE49-F238E27FC236}">
                <a16:creationId xmlns:a16="http://schemas.microsoft.com/office/drawing/2014/main" id="{D2CC2258-1CAC-42DF-AA86-10F59DEC7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</p:spPr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114" name="Platshållare för bildnummer 6">
            <a:extLst>
              <a:ext uri="{FF2B5EF4-FFF2-40B4-BE49-F238E27FC236}">
                <a16:creationId xmlns:a16="http://schemas.microsoft.com/office/drawing/2014/main" id="{0CFDA38F-887E-4A37-9D96-25B2B6B67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1" cy="187200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5E9C919A-0768-457E-8FE4-A8E97EA955FB}"/>
              </a:ext>
            </a:extLst>
          </p:cNvPr>
          <p:cNvSpPr/>
          <p:nvPr userDrawn="1"/>
        </p:nvSpPr>
        <p:spPr>
          <a:xfrm>
            <a:off x="10404000" y="702000"/>
            <a:ext cx="9007201" cy="99072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A9A918AC-8D77-44A2-A4FE-5285D4086A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2000"/>
            <a:ext cx="9007201" cy="99072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4" name="Platshållare för text 2">
            <a:extLst>
              <a:ext uri="{FF2B5EF4-FFF2-40B4-BE49-F238E27FC236}">
                <a16:creationId xmlns:a16="http://schemas.microsoft.com/office/drawing/2014/main" id="{F2DA647D-DDF5-4570-9F2E-0535FAD82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5" cy="5400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7" name="Rubrik 7">
            <a:extLst>
              <a:ext uri="{FF2B5EF4-FFF2-40B4-BE49-F238E27FC236}">
                <a16:creationId xmlns:a16="http://schemas.microsoft.com/office/drawing/2014/main" id="{A8C94F33-3648-4C31-AEF3-2EBA53858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7828735" cy="204364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83921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13">
            <a:extLst>
              <a:ext uri="{FF2B5EF4-FFF2-40B4-BE49-F238E27FC236}">
                <a16:creationId xmlns:a16="http://schemas.microsoft.com/office/drawing/2014/main" id="{7E25708F-A6F2-4D28-886A-05F63F7F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3" r="88989" b="40999"/>
          <a:stretch/>
        </p:blipFill>
        <p:spPr>
          <a:xfrm>
            <a:off x="19008000" y="0"/>
            <a:ext cx="1096101" cy="2395475"/>
          </a:xfrm>
          <a:prstGeom prst="rect">
            <a:avLst/>
          </a:prstGeom>
        </p:spPr>
      </p:pic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877614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EB7B88AC-ED67-40FC-B207-9A82E4376643}"/>
              </a:ext>
            </a:extLst>
          </p:cNvPr>
          <p:cNvSpPr/>
          <p:nvPr userDrawn="1"/>
        </p:nvSpPr>
        <p:spPr>
          <a:xfrm>
            <a:off x="1245601" y="2491200"/>
            <a:ext cx="17618399" cy="79236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1" y="2491200"/>
            <a:ext cx="17618399" cy="7923600"/>
          </a:xfr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1" name="Platshållare för text 6">
            <a:extLst>
              <a:ext uri="{FF2B5EF4-FFF2-40B4-BE49-F238E27FC236}">
                <a16:creationId xmlns:a16="http://schemas.microsoft.com/office/drawing/2014/main" id="{7C6CF22E-C600-40EB-BB5D-A71AE04A4C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1" y="8791201"/>
            <a:ext cx="1987199" cy="19872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43506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Bildobjekt 116">
            <a:extLst>
              <a:ext uri="{FF2B5EF4-FFF2-40B4-BE49-F238E27FC236}">
                <a16:creationId xmlns:a16="http://schemas.microsoft.com/office/drawing/2014/main" id="{33477E7E-42C3-4788-A1BB-FDC82EC59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74" b="4216"/>
          <a:stretch/>
        </p:blipFill>
        <p:spPr>
          <a:xfrm>
            <a:off x="10814400" y="0"/>
            <a:ext cx="9289700" cy="11309350"/>
          </a:xfrm>
          <a:prstGeom prst="rect">
            <a:avLst/>
          </a:prstGeom>
        </p:spPr>
      </p:pic>
      <p:sp>
        <p:nvSpPr>
          <p:cNvPr id="118" name="object 38">
            <a:extLst>
              <a:ext uri="{FF2B5EF4-FFF2-40B4-BE49-F238E27FC236}">
                <a16:creationId xmlns:a16="http://schemas.microsoft.com/office/drawing/2014/main" id="{72F77CA4-0BCE-4432-8426-61300A583404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9" name="Rubrik 1">
            <a:extLst>
              <a:ext uri="{FF2B5EF4-FFF2-40B4-BE49-F238E27FC236}">
                <a16:creationId xmlns:a16="http://schemas.microsoft.com/office/drawing/2014/main" id="{656A818D-9B35-4279-A10A-068A34BAA2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5" y="2378076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899" spc="-401" baseline="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120" name="Underrubrik 2">
            <a:extLst>
              <a:ext uri="{FF2B5EF4-FFF2-40B4-BE49-F238E27FC236}">
                <a16:creationId xmlns:a16="http://schemas.microsoft.com/office/drawing/2014/main" id="{3DE99F72-0CDC-477B-85F2-1E356EF224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5" y="6279774"/>
            <a:ext cx="13635037" cy="2406650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179" indent="0" algn="ctr">
              <a:buNone/>
              <a:defRPr sz="2000"/>
            </a:lvl2pPr>
            <a:lvl3pPr marL="914357" indent="0" algn="ctr">
              <a:buNone/>
              <a:defRPr sz="1801"/>
            </a:lvl3pPr>
            <a:lvl4pPr marL="1371536" indent="0" algn="ctr">
              <a:buNone/>
              <a:defRPr sz="1600"/>
            </a:lvl4pPr>
            <a:lvl5pPr marL="1828715" indent="0" algn="ctr">
              <a:buNone/>
              <a:defRPr sz="1600"/>
            </a:lvl5pPr>
            <a:lvl6pPr marL="2285893" indent="0" algn="ctr">
              <a:buNone/>
              <a:defRPr sz="1600"/>
            </a:lvl6pPr>
            <a:lvl7pPr marL="2743072" indent="0" algn="ctr">
              <a:buNone/>
              <a:defRPr sz="1600"/>
            </a:lvl7pPr>
            <a:lvl8pPr marL="3200252" indent="0" algn="ctr">
              <a:buNone/>
              <a:defRPr sz="1600"/>
            </a:lvl8pPr>
            <a:lvl9pPr marL="3657431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8617885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15">
            <a:extLst>
              <a:ext uri="{FF2B5EF4-FFF2-40B4-BE49-F238E27FC236}">
                <a16:creationId xmlns:a16="http://schemas.microsoft.com/office/drawing/2014/main" id="{4A2BB9E4-4D0C-429C-86B2-73D19EAEC8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9" b="40999"/>
          <a:stretch/>
        </p:blipFill>
        <p:spPr>
          <a:xfrm>
            <a:off x="19008000" y="0"/>
            <a:ext cx="1096101" cy="3216275"/>
          </a:xfrm>
          <a:prstGeom prst="rect">
            <a:avLst/>
          </a:prstGeom>
        </p:spPr>
      </p:pic>
      <p:sp>
        <p:nvSpPr>
          <p:cNvPr id="17" name="Platshållare för text 10">
            <a:extLst>
              <a:ext uri="{FF2B5EF4-FFF2-40B4-BE49-F238E27FC236}">
                <a16:creationId xmlns:a16="http://schemas.microsoft.com/office/drawing/2014/main" id="{C9E204E3-63A1-4474-A22C-5B6EBCE2E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399670"/>
            <a:ext cx="17616566" cy="59832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9A8E34-5052-4F38-988C-0D97C6615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307201E-B19A-4211-B823-348FBA9EC29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0AA7B2E-985F-4673-A4FB-6FC32C2C34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B649E5A-1919-43B2-BBF2-01932005A4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503093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Bildobjekt 71">
            <a:extLst>
              <a:ext uri="{FF2B5EF4-FFF2-40B4-BE49-F238E27FC236}">
                <a16:creationId xmlns:a16="http://schemas.microsoft.com/office/drawing/2014/main" id="{F9214C34-71FC-4B3B-B2DA-532B9C36A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04" t="51088" b="-60520"/>
          <a:stretch/>
        </p:blipFill>
        <p:spPr>
          <a:xfrm>
            <a:off x="0" y="6264274"/>
            <a:ext cx="1247156" cy="5045075"/>
          </a:xfrm>
          <a:prstGeom prst="rect">
            <a:avLst/>
          </a:prstGeom>
        </p:spPr>
      </p:pic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ACC9BDD-2A63-4704-82E4-11575AE255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7763FE-5C0D-4543-80BD-2B9936FC6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E9CB98B-6CDA-4906-9342-37A4C0ABF2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221911" y="3406775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FC9495B9-D494-4909-B0F6-C282E34AD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040E90E-D655-44FC-9710-9E80B04524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8CD1362-079A-44DB-8854-F2DD36BF5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392538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18">
            <a:extLst>
              <a:ext uri="{FF2B5EF4-FFF2-40B4-BE49-F238E27FC236}">
                <a16:creationId xmlns:a16="http://schemas.microsoft.com/office/drawing/2014/main" id="{3137100E-AD01-4413-A769-147ED2DBD7FF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6" name="AutoShape 18">
            <a:extLst>
              <a:ext uri="{FF2B5EF4-FFF2-40B4-BE49-F238E27FC236}">
                <a16:creationId xmlns:a16="http://schemas.microsoft.com/office/drawing/2014/main" id="{72A7E8A6-C02F-4DDB-893A-A2DE3452A3B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52400" y="152401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7" name="AutoShape 18">
            <a:extLst>
              <a:ext uri="{FF2B5EF4-FFF2-40B4-BE49-F238E27FC236}">
                <a16:creationId xmlns:a16="http://schemas.microsoft.com/office/drawing/2014/main" id="{B680042A-CED3-424E-BC74-1F9AD53398B7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304800" y="30480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8" name="Platshållare för innehåll 2">
            <a:extLst>
              <a:ext uri="{FF2B5EF4-FFF2-40B4-BE49-F238E27FC236}">
                <a16:creationId xmlns:a16="http://schemas.microsoft.com/office/drawing/2014/main" id="{EDEB1E76-DA8C-4821-B2EB-EED0A44C49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4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90" name="Bildobjekt 89">
            <a:extLst>
              <a:ext uri="{FF2B5EF4-FFF2-40B4-BE49-F238E27FC236}">
                <a16:creationId xmlns:a16="http://schemas.microsoft.com/office/drawing/2014/main" id="{52C1F324-DEFA-416F-B72F-6051C31AF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1" t="51033" b="-60375"/>
          <a:stretch/>
        </p:blipFill>
        <p:spPr>
          <a:xfrm>
            <a:off x="1" y="6264278"/>
            <a:ext cx="1238643" cy="5045073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99169CA-2D7A-43B7-AB45-92143F3B1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266FDE-E7E1-4894-A463-420093AA5D7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10221916" y="3406776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0AFD0371-4BC2-4B1E-AF08-C39AD685810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9B503087-80B1-4939-BF99-75E89592FC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67DA98C4-0904-4159-B0D2-48927D0D4B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731446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Bildobjekt 115">
            <a:extLst>
              <a:ext uri="{FF2B5EF4-FFF2-40B4-BE49-F238E27FC236}">
                <a16:creationId xmlns:a16="http://schemas.microsoft.com/office/drawing/2014/main" id="{C737B2F4-9EA7-4502-85F3-D663E2EA0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6239526" cy="979200"/>
          </a:xfrm>
          <a:prstGeom prst="rect">
            <a:avLst/>
          </a:prstGeom>
        </p:spPr>
      </p:pic>
      <p:sp>
        <p:nvSpPr>
          <p:cNvPr id="17" name="object 38">
            <a:extLst>
              <a:ext uri="{FF2B5EF4-FFF2-40B4-BE49-F238E27FC236}">
                <a16:creationId xmlns:a16="http://schemas.microsoft.com/office/drawing/2014/main" id="{ED408A77-E9D9-4ECD-9EAC-8F17AA6FF688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3" name="Platshållare för sidfot 5">
            <a:extLst>
              <a:ext uri="{FF2B5EF4-FFF2-40B4-BE49-F238E27FC236}">
                <a16:creationId xmlns:a16="http://schemas.microsoft.com/office/drawing/2014/main" id="{BB34CA2A-42E7-429D-A977-94E73516A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3903" y="478617"/>
            <a:ext cx="7703999" cy="1872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12" name="Platshållare för datum 4">
            <a:extLst>
              <a:ext uri="{FF2B5EF4-FFF2-40B4-BE49-F238E27FC236}">
                <a16:creationId xmlns:a16="http://schemas.microsoft.com/office/drawing/2014/main" id="{D2CC2258-1CAC-42DF-AA86-10F59DEC7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</p:spPr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114" name="Platshållare för bildnummer 6">
            <a:extLst>
              <a:ext uri="{FF2B5EF4-FFF2-40B4-BE49-F238E27FC236}">
                <a16:creationId xmlns:a16="http://schemas.microsoft.com/office/drawing/2014/main" id="{0CFDA38F-887E-4A37-9D96-25B2B6B67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1" cy="187200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5E9C919A-0768-457E-8FE4-A8E97EA955FB}"/>
              </a:ext>
            </a:extLst>
          </p:cNvPr>
          <p:cNvSpPr/>
          <p:nvPr userDrawn="1"/>
        </p:nvSpPr>
        <p:spPr>
          <a:xfrm>
            <a:off x="10404000" y="702000"/>
            <a:ext cx="9007201" cy="99072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A9A918AC-8D77-44A2-A4FE-5285D4086A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2000"/>
            <a:ext cx="9007201" cy="99072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4" name="Platshållare för text 2">
            <a:extLst>
              <a:ext uri="{FF2B5EF4-FFF2-40B4-BE49-F238E27FC236}">
                <a16:creationId xmlns:a16="http://schemas.microsoft.com/office/drawing/2014/main" id="{F2DA647D-DDF5-4570-9F2E-0535FAD82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5" cy="5400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7" name="Rubrik 7">
            <a:extLst>
              <a:ext uri="{FF2B5EF4-FFF2-40B4-BE49-F238E27FC236}">
                <a16:creationId xmlns:a16="http://schemas.microsoft.com/office/drawing/2014/main" id="{A8C94F33-3648-4C31-AEF3-2EBA53858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7828735" cy="204364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1142965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13">
            <a:extLst>
              <a:ext uri="{FF2B5EF4-FFF2-40B4-BE49-F238E27FC236}">
                <a16:creationId xmlns:a16="http://schemas.microsoft.com/office/drawing/2014/main" id="{7E25708F-A6F2-4D28-886A-05F63F7F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3" r="88989" b="40999"/>
          <a:stretch/>
        </p:blipFill>
        <p:spPr>
          <a:xfrm>
            <a:off x="19008000" y="0"/>
            <a:ext cx="1096101" cy="2395475"/>
          </a:xfrm>
          <a:prstGeom prst="rect">
            <a:avLst/>
          </a:prstGeom>
        </p:spPr>
      </p:pic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877614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EB7B88AC-ED67-40FC-B207-9A82E4376643}"/>
              </a:ext>
            </a:extLst>
          </p:cNvPr>
          <p:cNvSpPr/>
          <p:nvPr userDrawn="1"/>
        </p:nvSpPr>
        <p:spPr>
          <a:xfrm>
            <a:off x="1245601" y="2491200"/>
            <a:ext cx="17618399" cy="79236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1" y="2491200"/>
            <a:ext cx="17618399" cy="7923600"/>
          </a:xfr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1" name="Platshållare för text 6">
            <a:extLst>
              <a:ext uri="{FF2B5EF4-FFF2-40B4-BE49-F238E27FC236}">
                <a16:creationId xmlns:a16="http://schemas.microsoft.com/office/drawing/2014/main" id="{7C6CF22E-C600-40EB-BB5D-A71AE04A4C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1" y="8791201"/>
            <a:ext cx="1987199" cy="19872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54456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" name="Bildobjekt 105">
            <a:extLst>
              <a:ext uri="{FF2B5EF4-FFF2-40B4-BE49-F238E27FC236}">
                <a16:creationId xmlns:a16="http://schemas.microsoft.com/office/drawing/2014/main" id="{BEF2884E-1FD5-4C14-8812-60610C2A3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46" t="64200" r="1"/>
          <a:stretch/>
        </p:blipFill>
        <p:spPr>
          <a:xfrm>
            <a:off x="0" y="0"/>
            <a:ext cx="6240627" cy="979488"/>
          </a:xfrm>
          <a:prstGeom prst="rect">
            <a:avLst/>
          </a:prstGeom>
        </p:spPr>
      </p:pic>
      <p:sp>
        <p:nvSpPr>
          <p:cNvPr id="15" name="object 38">
            <a:extLst>
              <a:ext uri="{FF2B5EF4-FFF2-40B4-BE49-F238E27FC236}">
                <a16:creationId xmlns:a16="http://schemas.microsoft.com/office/drawing/2014/main" id="{FCB10ADE-7E5E-400B-8AA1-BCE8B82F9AC2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669B40A8-44D8-445B-8C02-75F7336F6216}"/>
              </a:ext>
            </a:extLst>
          </p:cNvPr>
          <p:cNvSpPr/>
          <p:nvPr userDrawn="1"/>
        </p:nvSpPr>
        <p:spPr>
          <a:xfrm>
            <a:off x="10404000" y="702000"/>
            <a:ext cx="9000000" cy="9900000"/>
          </a:xfrm>
          <a:prstGeom prst="rect">
            <a:avLst/>
          </a:prstGeom>
          <a:solidFill>
            <a:srgbClr val="FA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id="{29954143-B55D-450D-940A-BB896C139DC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1676"/>
            <a:ext cx="9000000" cy="99000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1" name="Platshållare för text 2">
            <a:extLst>
              <a:ext uri="{FF2B5EF4-FFF2-40B4-BE49-F238E27FC236}">
                <a16:creationId xmlns:a16="http://schemas.microsoft.com/office/drawing/2014/main" id="{F05E6BAC-F8CD-4D8F-BF33-F04A9C43E4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3" cy="5400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107" name="Rubrik 106">
            <a:extLst>
              <a:ext uri="{FF2B5EF4-FFF2-40B4-BE49-F238E27FC236}">
                <a16:creationId xmlns:a16="http://schemas.microsoft.com/office/drawing/2014/main" id="{6CA9850E-4638-497B-BFB1-76C714BE1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7"/>
            <a:ext cx="7828734" cy="2043642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04256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0" y="2491200"/>
            <a:ext cx="17618400" cy="7923600"/>
          </a:xfrm>
          <a:solidFill>
            <a:srgbClr val="FAEDF2"/>
          </a:solidFill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877615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id="{959AE0B8-EF77-4FED-9065-2B19EFE2C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8" r="88999" b="40995"/>
          <a:stretch/>
        </p:blipFill>
        <p:spPr>
          <a:xfrm>
            <a:off x="19009056" y="0"/>
            <a:ext cx="1095044" cy="2395474"/>
          </a:xfrm>
          <a:prstGeom prst="rect">
            <a:avLst/>
          </a:prstGeom>
        </p:spPr>
      </p:pic>
      <p:sp>
        <p:nvSpPr>
          <p:cNvPr id="14" name="Platshållare för text 6">
            <a:extLst>
              <a:ext uri="{FF2B5EF4-FFF2-40B4-BE49-F238E27FC236}">
                <a16:creationId xmlns:a16="http://schemas.microsoft.com/office/drawing/2014/main" id="{4EB1276E-26FE-4592-99D9-92C82CD707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0" y="8791200"/>
            <a:ext cx="1987200" cy="19872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02392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Bildobjekt 116">
            <a:extLst>
              <a:ext uri="{FF2B5EF4-FFF2-40B4-BE49-F238E27FC236}">
                <a16:creationId xmlns:a16="http://schemas.microsoft.com/office/drawing/2014/main" id="{33477E7E-42C3-4788-A1BB-FDC82EC59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74" b="4216"/>
          <a:stretch/>
        </p:blipFill>
        <p:spPr>
          <a:xfrm>
            <a:off x="10814400" y="0"/>
            <a:ext cx="9289700" cy="11309350"/>
          </a:xfrm>
          <a:prstGeom prst="rect">
            <a:avLst/>
          </a:prstGeom>
        </p:spPr>
      </p:pic>
      <p:sp>
        <p:nvSpPr>
          <p:cNvPr id="118" name="object 38">
            <a:extLst>
              <a:ext uri="{FF2B5EF4-FFF2-40B4-BE49-F238E27FC236}">
                <a16:creationId xmlns:a16="http://schemas.microsoft.com/office/drawing/2014/main" id="{72F77CA4-0BCE-4432-8426-61300A583404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Rubrik 1">
            <a:extLst>
              <a:ext uri="{FF2B5EF4-FFF2-40B4-BE49-F238E27FC236}">
                <a16:creationId xmlns:a16="http://schemas.microsoft.com/office/drawing/2014/main" id="{656A818D-9B35-4279-A10A-068A34BAA2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3" y="2378075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900" spc="-400" baseline="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120" name="Underrubrik 2">
            <a:extLst>
              <a:ext uri="{FF2B5EF4-FFF2-40B4-BE49-F238E27FC236}">
                <a16:creationId xmlns:a16="http://schemas.microsoft.com/office/drawing/2014/main" id="{3DE99F72-0CDC-477B-85F2-1E356EF224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3" y="6279773"/>
            <a:ext cx="13635037" cy="2406650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114857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15">
            <a:extLst>
              <a:ext uri="{FF2B5EF4-FFF2-40B4-BE49-F238E27FC236}">
                <a16:creationId xmlns:a16="http://schemas.microsoft.com/office/drawing/2014/main" id="{4A2BB9E4-4D0C-429C-86B2-73D19EAEC8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9" b="40999"/>
          <a:stretch/>
        </p:blipFill>
        <p:spPr>
          <a:xfrm>
            <a:off x="19008000" y="0"/>
            <a:ext cx="1096100" cy="3216275"/>
          </a:xfrm>
          <a:prstGeom prst="rect">
            <a:avLst/>
          </a:prstGeom>
        </p:spPr>
      </p:pic>
      <p:sp>
        <p:nvSpPr>
          <p:cNvPr id="17" name="Platshållare för text 10">
            <a:extLst>
              <a:ext uri="{FF2B5EF4-FFF2-40B4-BE49-F238E27FC236}">
                <a16:creationId xmlns:a16="http://schemas.microsoft.com/office/drawing/2014/main" id="{C9E204E3-63A1-4474-A22C-5B6EBCE2E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6" y="3399671"/>
            <a:ext cx="17616566" cy="59832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9A8E34-5052-4F38-988C-0D97C6615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307201E-B19A-4211-B823-348FBA9EC29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0AA7B2E-985F-4673-A4FB-6FC32C2C34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B649E5A-1919-43B2-BBF2-01932005A4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002405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18">
            <a:extLst>
              <a:ext uri="{FF2B5EF4-FFF2-40B4-BE49-F238E27FC236}">
                <a16:creationId xmlns:a16="http://schemas.microsoft.com/office/drawing/2014/main" id="{3137100E-AD01-4413-A769-147ED2DBD7FF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86" name="AutoShape 18">
            <a:extLst>
              <a:ext uri="{FF2B5EF4-FFF2-40B4-BE49-F238E27FC236}">
                <a16:creationId xmlns:a16="http://schemas.microsoft.com/office/drawing/2014/main" id="{72A7E8A6-C02F-4DDB-893A-A2DE3452A3B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52400" y="15240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87" name="AutoShape 18">
            <a:extLst>
              <a:ext uri="{FF2B5EF4-FFF2-40B4-BE49-F238E27FC236}">
                <a16:creationId xmlns:a16="http://schemas.microsoft.com/office/drawing/2014/main" id="{B680042A-CED3-424E-BC74-1F9AD53398B7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304800" y="30480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88" name="Platshållare för innehåll 2">
            <a:extLst>
              <a:ext uri="{FF2B5EF4-FFF2-40B4-BE49-F238E27FC236}">
                <a16:creationId xmlns:a16="http://schemas.microsoft.com/office/drawing/2014/main" id="{EDEB1E76-DA8C-4821-B2EB-EED0A44C49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90" name="Bildobjekt 89">
            <a:extLst>
              <a:ext uri="{FF2B5EF4-FFF2-40B4-BE49-F238E27FC236}">
                <a16:creationId xmlns:a16="http://schemas.microsoft.com/office/drawing/2014/main" id="{52C1F324-DEFA-416F-B72F-6051C31AF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1" t="51033" b="-60375"/>
          <a:stretch/>
        </p:blipFill>
        <p:spPr>
          <a:xfrm>
            <a:off x="0" y="6264276"/>
            <a:ext cx="1238643" cy="504507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99169CA-2D7A-43B7-AB45-92143F3B1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266FDE-E7E1-4894-A463-420093AA5D7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10221915" y="3406776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0AFD0371-4BC2-4B1E-AF08-C39AD685810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9B503087-80B1-4939-BF99-75E89592FC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67DA98C4-0904-4159-B0D2-48927D0D4B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579016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Bildobjekt 115">
            <a:extLst>
              <a:ext uri="{FF2B5EF4-FFF2-40B4-BE49-F238E27FC236}">
                <a16:creationId xmlns:a16="http://schemas.microsoft.com/office/drawing/2014/main" id="{C737B2F4-9EA7-4502-85F3-D663E2EA0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6239526" cy="979200"/>
          </a:xfrm>
          <a:prstGeom prst="rect">
            <a:avLst/>
          </a:prstGeom>
        </p:spPr>
      </p:pic>
      <p:sp>
        <p:nvSpPr>
          <p:cNvPr id="17" name="object 38">
            <a:extLst>
              <a:ext uri="{FF2B5EF4-FFF2-40B4-BE49-F238E27FC236}">
                <a16:creationId xmlns:a16="http://schemas.microsoft.com/office/drawing/2014/main" id="{ED408A77-E9D9-4ECD-9EAC-8F17AA6FF688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Platshållare för sidfot 5">
            <a:extLst>
              <a:ext uri="{FF2B5EF4-FFF2-40B4-BE49-F238E27FC236}">
                <a16:creationId xmlns:a16="http://schemas.microsoft.com/office/drawing/2014/main" id="{BB34CA2A-42E7-429D-A977-94E73516A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3903" y="478617"/>
            <a:ext cx="7704000" cy="187200"/>
          </a:xfrm>
        </p:spPr>
        <p:txBody>
          <a:bodyPr/>
          <a:lstStyle/>
          <a:p>
            <a:endParaRPr lang="sv-SE"/>
          </a:p>
        </p:txBody>
      </p:sp>
      <p:sp>
        <p:nvSpPr>
          <p:cNvPr id="112" name="Platshållare för datum 4">
            <a:extLst>
              <a:ext uri="{FF2B5EF4-FFF2-40B4-BE49-F238E27FC236}">
                <a16:creationId xmlns:a16="http://schemas.microsoft.com/office/drawing/2014/main" id="{D2CC2258-1CAC-42DF-AA86-10F59DEC7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</p:spPr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114" name="Platshållare för bildnummer 6">
            <a:extLst>
              <a:ext uri="{FF2B5EF4-FFF2-40B4-BE49-F238E27FC236}">
                <a16:creationId xmlns:a16="http://schemas.microsoft.com/office/drawing/2014/main" id="{0CFDA38F-887E-4A37-9D96-25B2B6B67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0" cy="187200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5E9C919A-0768-457E-8FE4-A8E97EA955FB}"/>
              </a:ext>
            </a:extLst>
          </p:cNvPr>
          <p:cNvSpPr/>
          <p:nvPr userDrawn="1"/>
        </p:nvSpPr>
        <p:spPr>
          <a:xfrm>
            <a:off x="10404000" y="702000"/>
            <a:ext cx="9007200" cy="99072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A9A918AC-8D77-44A2-A4FE-5285D4086A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2000"/>
            <a:ext cx="9007200" cy="99072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4" name="Platshållare för text 2">
            <a:extLst>
              <a:ext uri="{FF2B5EF4-FFF2-40B4-BE49-F238E27FC236}">
                <a16:creationId xmlns:a16="http://schemas.microsoft.com/office/drawing/2014/main" id="{F2DA647D-DDF5-4570-9F2E-0535FAD82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4" cy="5400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7" name="Rubrik 7">
            <a:extLst>
              <a:ext uri="{FF2B5EF4-FFF2-40B4-BE49-F238E27FC236}">
                <a16:creationId xmlns:a16="http://schemas.microsoft.com/office/drawing/2014/main" id="{A8C94F33-3648-4C31-AEF3-2EBA53858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7"/>
            <a:ext cx="7828734" cy="204364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871591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  <p15:guide id="2" pos="6332" userDrawn="1">
          <p15:clr>
            <a:srgbClr val="FBAE40"/>
          </p15:clr>
        </p15:guide>
        <p15:guide id="3" pos="244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3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4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2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5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30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6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3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1A90D26-33BA-4A56-8160-7202727430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50253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6" y="3401568"/>
            <a:ext cx="17616567" cy="59869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4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noProof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 noProof="0"/>
              <a:t>2021-10-06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noProof="0" smtClean="0"/>
              <a:pPr/>
              <a:t>‹#›</a:t>
            </a:fld>
            <a:endParaRPr lang="sv-SE" noProof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1227047"/>
            <a:ext cx="17616567" cy="2043642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noProof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5" y="9528509"/>
            <a:ext cx="1302292" cy="12512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73209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2" r:id="rId2"/>
    <p:sldLayoutId id="2147483735" r:id="rId3"/>
    <p:sldLayoutId id="2147483738" r:id="rId4"/>
    <p:sldLayoutId id="2147483741" r:id="rId5"/>
  </p:sldLayoutIdLst>
  <p:hf sldNum="0" hdr="0"/>
  <p:txStyles>
    <p:titleStyle>
      <a:lvl1pPr eaLnBrk="1" hangingPunct="1">
        <a:lnSpc>
          <a:spcPct val="85000"/>
        </a:lnSpc>
        <a:defRPr sz="6450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600" indent="-345600" eaLnBrk="1" hangingPunct="1">
        <a:lnSpc>
          <a:spcPct val="84000"/>
        </a:lnSpc>
        <a:spcAft>
          <a:spcPts val="2300"/>
        </a:spcAft>
        <a:buSzPct val="100000"/>
        <a:buFontTx/>
        <a:buBlip>
          <a:blip r:embed="rId11"/>
        </a:buBlip>
        <a:tabLst/>
        <a:defRPr sz="4250" spc="-110" baseline="0">
          <a:latin typeface="+mn-lt"/>
          <a:ea typeface="+mn-ea"/>
          <a:cs typeface="+mn-cs"/>
        </a:defRPr>
      </a:lvl1pPr>
      <a:lvl2pPr marL="756000" indent="-324000" eaLnBrk="1" hangingPunct="1">
        <a:lnSpc>
          <a:spcPct val="84000"/>
        </a:lnSpc>
        <a:spcAft>
          <a:spcPts val="2400"/>
        </a:spcAft>
        <a:buFontTx/>
        <a:buBlip>
          <a:blip r:embed="rId11"/>
        </a:buBlip>
        <a:defRPr sz="3850" spc="-110" baseline="0">
          <a:latin typeface="+mn-lt"/>
          <a:ea typeface="+mn-ea"/>
          <a:cs typeface="+mn-cs"/>
        </a:defRPr>
      </a:lvl2pPr>
      <a:lvl3pPr marL="1116000" indent="-288000" eaLnBrk="1" hangingPunct="1">
        <a:lnSpc>
          <a:spcPct val="84000"/>
        </a:lnSpc>
        <a:spcAft>
          <a:spcPts val="2500"/>
        </a:spcAft>
        <a:buFontTx/>
        <a:buBlip>
          <a:blip r:embed="rId11"/>
        </a:buBlip>
        <a:defRPr sz="3400" spc="-110" baseline="0">
          <a:latin typeface="+mn-lt"/>
          <a:ea typeface="+mn-ea"/>
          <a:cs typeface="+mn-cs"/>
        </a:defRPr>
      </a:lvl3pPr>
      <a:lvl4pPr marL="1458000" indent="-259200" eaLnBrk="1" hangingPunct="1">
        <a:lnSpc>
          <a:spcPct val="84000"/>
        </a:lnSpc>
        <a:spcAft>
          <a:spcPts val="2600"/>
        </a:spcAft>
        <a:buFontTx/>
        <a:buBlip>
          <a:blip r:embed="rId11"/>
        </a:buBlip>
        <a:defRPr sz="3000" spc="-110" baseline="0">
          <a:latin typeface="+mn-lt"/>
          <a:ea typeface="+mn-ea"/>
          <a:cs typeface="+mn-cs"/>
        </a:defRPr>
      </a:lvl4pPr>
      <a:lvl5pPr marL="1764000" indent="-252000" eaLnBrk="1" hangingPunct="1">
        <a:lnSpc>
          <a:spcPct val="86000"/>
        </a:lnSpc>
        <a:spcAft>
          <a:spcPts val="1500"/>
        </a:spcAft>
        <a:buFontTx/>
        <a:buBlip>
          <a:blip r:embed="rId11"/>
        </a:buBlip>
        <a:defRPr sz="2800" spc="-110" baseline="0"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B5E1A61-1436-4C4C-A6D3-4F6C3B9B29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180239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6" y="3401568"/>
            <a:ext cx="17616567" cy="59869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4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1227047"/>
            <a:ext cx="17616567" cy="2043642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5" y="9528509"/>
            <a:ext cx="1302292" cy="125128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78" r:id="rId2"/>
    <p:sldLayoutId id="2147483681" r:id="rId3"/>
    <p:sldLayoutId id="2147483685" r:id="rId4"/>
    <p:sldLayoutId id="2147483701" r:id="rId5"/>
    <p:sldLayoutId id="2147483765" r:id="rId6"/>
    <p:sldLayoutId id="2147483766" r:id="rId7"/>
  </p:sldLayoutIdLst>
  <p:hf sldNum="0" hdr="0"/>
  <p:txStyles>
    <p:titleStyle>
      <a:lvl1pPr>
        <a:lnSpc>
          <a:spcPct val="85000"/>
        </a:lnSpc>
        <a:defRPr sz="6450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600" indent="-345600">
        <a:lnSpc>
          <a:spcPct val="84000"/>
        </a:lnSpc>
        <a:spcAft>
          <a:spcPts val="2300"/>
        </a:spcAft>
        <a:buSzPct val="100000"/>
        <a:buFontTx/>
        <a:buBlip>
          <a:blip r:embed="rId13"/>
        </a:buBlip>
        <a:tabLst/>
        <a:defRPr sz="4250" spc="-110" baseline="0">
          <a:latin typeface="+mn-lt"/>
          <a:ea typeface="+mn-ea"/>
          <a:cs typeface="+mn-cs"/>
        </a:defRPr>
      </a:lvl1pPr>
      <a:lvl2pPr marL="756000" indent="-324000">
        <a:lnSpc>
          <a:spcPct val="84000"/>
        </a:lnSpc>
        <a:spcAft>
          <a:spcPts val="2400"/>
        </a:spcAft>
        <a:buFontTx/>
        <a:buBlip>
          <a:blip r:embed="rId13"/>
        </a:buBlip>
        <a:defRPr sz="3850" spc="-110" baseline="0">
          <a:latin typeface="+mn-lt"/>
          <a:ea typeface="+mn-ea"/>
          <a:cs typeface="+mn-cs"/>
        </a:defRPr>
      </a:lvl2pPr>
      <a:lvl3pPr marL="1116000" indent="-288000">
        <a:lnSpc>
          <a:spcPct val="84000"/>
        </a:lnSpc>
        <a:spcAft>
          <a:spcPts val="2500"/>
        </a:spcAft>
        <a:buFontTx/>
        <a:buBlip>
          <a:blip r:embed="rId13"/>
        </a:buBlip>
        <a:defRPr sz="3400" spc="-110" baseline="0">
          <a:latin typeface="+mn-lt"/>
          <a:ea typeface="+mn-ea"/>
          <a:cs typeface="+mn-cs"/>
        </a:defRPr>
      </a:lvl3pPr>
      <a:lvl4pPr marL="1458000" indent="-259200">
        <a:lnSpc>
          <a:spcPct val="84000"/>
        </a:lnSpc>
        <a:spcAft>
          <a:spcPts val="2600"/>
        </a:spcAft>
        <a:buFontTx/>
        <a:buBlip>
          <a:blip r:embed="rId13"/>
        </a:buBlip>
        <a:defRPr sz="3000" spc="-110" baseline="0">
          <a:latin typeface="+mn-lt"/>
          <a:ea typeface="+mn-ea"/>
          <a:cs typeface="+mn-cs"/>
        </a:defRPr>
      </a:lvl4pPr>
      <a:lvl5pPr marL="1764000" indent="-252000">
        <a:lnSpc>
          <a:spcPct val="86000"/>
        </a:lnSpc>
        <a:spcAft>
          <a:spcPts val="1500"/>
        </a:spcAft>
        <a:buFontTx/>
        <a:buBlip>
          <a:blip r:embed="rId13"/>
        </a:buBlip>
        <a:defRPr sz="2800" spc="-110" baseline="0"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E413B2D-4104-416B-9828-B0AF3BE84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48428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4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1227047"/>
            <a:ext cx="17616567" cy="2043642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5" y="9528509"/>
            <a:ext cx="1302292" cy="12512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A5BA178A-7D73-4B39-A47A-E9668CC0BE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6" y="3402000"/>
            <a:ext cx="17618400" cy="5986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97878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7" r:id="rId2"/>
    <p:sldLayoutId id="2147483710" r:id="rId3"/>
    <p:sldLayoutId id="2147483713" r:id="rId4"/>
    <p:sldLayoutId id="2147483716" r:id="rId5"/>
  </p:sldLayoutIdLst>
  <p:hf sldNum="0" hdr="0"/>
  <p:txStyles>
    <p:titleStyle>
      <a:lvl1pPr>
        <a:lnSpc>
          <a:spcPct val="85000"/>
        </a:lnSpc>
        <a:defRPr sz="6450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600" indent="-345600">
        <a:lnSpc>
          <a:spcPct val="84000"/>
        </a:lnSpc>
        <a:spcAft>
          <a:spcPts val="2300"/>
        </a:spcAft>
        <a:buSzPct val="100000"/>
        <a:buFontTx/>
        <a:buBlip>
          <a:blip r:embed="rId11"/>
        </a:buBlip>
        <a:tabLst/>
        <a:defRPr lang="sv-SE" sz="4250" spc="-110" baseline="0" dirty="0" smtClean="0">
          <a:latin typeface="+mn-lt"/>
          <a:ea typeface="+mn-ea"/>
          <a:cs typeface="+mn-cs"/>
        </a:defRPr>
      </a:lvl1pPr>
      <a:lvl2pPr marL="756000" indent="-324000">
        <a:lnSpc>
          <a:spcPct val="84000"/>
        </a:lnSpc>
        <a:spcAft>
          <a:spcPts val="2400"/>
        </a:spcAft>
        <a:buFontTx/>
        <a:buBlip>
          <a:blip r:embed="rId11"/>
        </a:buBlip>
        <a:defRPr lang="sv-SE" sz="3850" spc="-110" baseline="0" dirty="0" smtClean="0">
          <a:latin typeface="+mn-lt"/>
          <a:ea typeface="+mn-ea"/>
          <a:cs typeface="+mn-cs"/>
        </a:defRPr>
      </a:lvl2pPr>
      <a:lvl3pPr marL="1116000" indent="-288000">
        <a:lnSpc>
          <a:spcPct val="84000"/>
        </a:lnSpc>
        <a:spcAft>
          <a:spcPts val="2500"/>
        </a:spcAft>
        <a:buFontTx/>
        <a:buBlip>
          <a:blip r:embed="rId11"/>
        </a:buBlip>
        <a:defRPr lang="sv-SE" sz="3400" spc="-110" baseline="0" dirty="0" smtClean="0">
          <a:latin typeface="+mn-lt"/>
          <a:ea typeface="+mn-ea"/>
          <a:cs typeface="+mn-cs"/>
        </a:defRPr>
      </a:lvl3pPr>
      <a:lvl4pPr marL="1458000" indent="-259200">
        <a:lnSpc>
          <a:spcPct val="84000"/>
        </a:lnSpc>
        <a:spcAft>
          <a:spcPts val="2600"/>
        </a:spcAft>
        <a:buFontTx/>
        <a:buBlip>
          <a:blip r:embed="rId11"/>
        </a:buBlip>
        <a:defRPr lang="sv-SE" sz="3000" spc="-110" baseline="0" dirty="0" smtClean="0">
          <a:latin typeface="+mn-lt"/>
          <a:ea typeface="+mn-ea"/>
          <a:cs typeface="+mn-cs"/>
        </a:defRPr>
      </a:lvl4pPr>
      <a:lvl5pPr marL="1764000" indent="-252000">
        <a:lnSpc>
          <a:spcPct val="86000"/>
        </a:lnSpc>
        <a:spcAft>
          <a:spcPts val="1500"/>
        </a:spcAft>
        <a:buFontTx/>
        <a:buBlip>
          <a:blip r:embed="rId11"/>
        </a:buBlip>
        <a:defRPr lang="sv-SE" sz="2800" spc="-110" baseline="0" dirty="0" smtClean="0"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F3DF9D4-4166-4227-B5FA-411C458EB3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38203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7" y="3401568"/>
            <a:ext cx="17616567" cy="59869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3999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1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17616567" cy="2043641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6" y="9528510"/>
            <a:ext cx="1302291" cy="12512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</p:spTree>
    <p:extLst>
      <p:ext uri="{BB962C8B-B14F-4D97-AF65-F5344CB8AC3E}">
        <p14:creationId xmlns:p14="http://schemas.microsoft.com/office/powerpoint/2010/main" val="1946040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</p:sldLayoutIdLst>
  <p:hf sldNum="0" hdr="0"/>
  <p:txStyles>
    <p:titleStyle>
      <a:lvl1pPr>
        <a:lnSpc>
          <a:spcPct val="85000"/>
        </a:lnSpc>
        <a:defRPr sz="6449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584" indent="-345584">
        <a:lnSpc>
          <a:spcPct val="84000"/>
        </a:lnSpc>
        <a:spcAft>
          <a:spcPts val="2300"/>
        </a:spcAft>
        <a:buSzPct val="100000"/>
        <a:buFontTx/>
        <a:buBlip>
          <a:blip r:embed="rId11"/>
        </a:buBlip>
        <a:tabLst/>
        <a:defRPr sz="4249" spc="-110" baseline="0">
          <a:latin typeface="+mn-lt"/>
          <a:ea typeface="+mn-ea"/>
          <a:cs typeface="+mn-cs"/>
        </a:defRPr>
      </a:lvl1pPr>
      <a:lvl2pPr marL="755964" indent="-323986">
        <a:lnSpc>
          <a:spcPct val="84000"/>
        </a:lnSpc>
        <a:spcAft>
          <a:spcPts val="2399"/>
        </a:spcAft>
        <a:buFontTx/>
        <a:buBlip>
          <a:blip r:embed="rId11"/>
        </a:buBlip>
        <a:defRPr sz="3850" spc="-110" baseline="0">
          <a:latin typeface="+mn-lt"/>
          <a:ea typeface="+mn-ea"/>
          <a:cs typeface="+mn-cs"/>
        </a:defRPr>
      </a:lvl2pPr>
      <a:lvl3pPr marL="1115948" indent="-287986">
        <a:lnSpc>
          <a:spcPct val="84000"/>
        </a:lnSpc>
        <a:spcAft>
          <a:spcPts val="2500"/>
        </a:spcAft>
        <a:buFontTx/>
        <a:buBlip>
          <a:blip r:embed="rId11"/>
        </a:buBlip>
        <a:defRPr sz="3400" spc="-110" baseline="0">
          <a:latin typeface="+mn-lt"/>
          <a:ea typeface="+mn-ea"/>
          <a:cs typeface="+mn-cs"/>
        </a:defRPr>
      </a:lvl3pPr>
      <a:lvl4pPr marL="1457932" indent="-259188">
        <a:lnSpc>
          <a:spcPct val="84000"/>
        </a:lnSpc>
        <a:spcAft>
          <a:spcPts val="2600"/>
        </a:spcAft>
        <a:buFontTx/>
        <a:buBlip>
          <a:blip r:embed="rId11"/>
        </a:buBlip>
        <a:defRPr sz="3000" spc="-110" baseline="0">
          <a:latin typeface="+mn-lt"/>
          <a:ea typeface="+mn-ea"/>
          <a:cs typeface="+mn-cs"/>
        </a:defRPr>
      </a:lvl4pPr>
      <a:lvl5pPr marL="1763919" indent="-251989">
        <a:lnSpc>
          <a:spcPct val="86000"/>
        </a:lnSpc>
        <a:spcAft>
          <a:spcPts val="1501"/>
        </a:spcAft>
        <a:buFontTx/>
        <a:buBlip>
          <a:blip r:embed="rId11"/>
        </a:buBlip>
        <a:defRPr sz="2800" spc="-110" baseline="0"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79">
        <a:defRPr>
          <a:latin typeface="+mn-lt"/>
          <a:ea typeface="+mn-ea"/>
          <a:cs typeface="+mn-cs"/>
        </a:defRPr>
      </a:lvl2pPr>
      <a:lvl3pPr marL="914357">
        <a:defRPr>
          <a:latin typeface="+mn-lt"/>
          <a:ea typeface="+mn-ea"/>
          <a:cs typeface="+mn-cs"/>
        </a:defRPr>
      </a:lvl3pPr>
      <a:lvl4pPr marL="1371536">
        <a:defRPr>
          <a:latin typeface="+mn-lt"/>
          <a:ea typeface="+mn-ea"/>
          <a:cs typeface="+mn-cs"/>
        </a:defRPr>
      </a:lvl4pPr>
      <a:lvl5pPr marL="1828715">
        <a:defRPr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3367C4-A4DE-44E3-A6E9-4B3A55087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4252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7" y="3401568"/>
            <a:ext cx="17616567" cy="59869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3999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1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17616567" cy="2043641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6" y="9528510"/>
            <a:ext cx="1302291" cy="12512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</p:spTree>
    <p:extLst>
      <p:ext uri="{BB962C8B-B14F-4D97-AF65-F5344CB8AC3E}">
        <p14:creationId xmlns:p14="http://schemas.microsoft.com/office/powerpoint/2010/main" val="292394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</p:sldLayoutIdLst>
  <p:hf sldNum="0" hdr="0"/>
  <p:txStyles>
    <p:titleStyle>
      <a:lvl1pPr>
        <a:lnSpc>
          <a:spcPct val="85000"/>
        </a:lnSpc>
        <a:defRPr sz="6449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584" indent="-345584">
        <a:lnSpc>
          <a:spcPct val="84000"/>
        </a:lnSpc>
        <a:spcAft>
          <a:spcPts val="2300"/>
        </a:spcAft>
        <a:buSzPct val="100000"/>
        <a:buFontTx/>
        <a:buBlip>
          <a:blip r:embed="rId11"/>
        </a:buBlip>
        <a:tabLst/>
        <a:defRPr sz="4249" spc="-110" baseline="0">
          <a:latin typeface="+mn-lt"/>
          <a:ea typeface="+mn-ea"/>
          <a:cs typeface="+mn-cs"/>
        </a:defRPr>
      </a:lvl1pPr>
      <a:lvl2pPr marL="755964" indent="-323986">
        <a:lnSpc>
          <a:spcPct val="84000"/>
        </a:lnSpc>
        <a:spcAft>
          <a:spcPts val="2399"/>
        </a:spcAft>
        <a:buFontTx/>
        <a:buBlip>
          <a:blip r:embed="rId11"/>
        </a:buBlip>
        <a:defRPr sz="3850" spc="-110" baseline="0">
          <a:latin typeface="+mn-lt"/>
          <a:ea typeface="+mn-ea"/>
          <a:cs typeface="+mn-cs"/>
        </a:defRPr>
      </a:lvl2pPr>
      <a:lvl3pPr marL="1115948" indent="-287986">
        <a:lnSpc>
          <a:spcPct val="84000"/>
        </a:lnSpc>
        <a:spcAft>
          <a:spcPts val="2500"/>
        </a:spcAft>
        <a:buFontTx/>
        <a:buBlip>
          <a:blip r:embed="rId11"/>
        </a:buBlip>
        <a:defRPr sz="3400" spc="-110" baseline="0">
          <a:latin typeface="+mn-lt"/>
          <a:ea typeface="+mn-ea"/>
          <a:cs typeface="+mn-cs"/>
        </a:defRPr>
      </a:lvl3pPr>
      <a:lvl4pPr marL="1457932" indent="-259188">
        <a:lnSpc>
          <a:spcPct val="84000"/>
        </a:lnSpc>
        <a:spcAft>
          <a:spcPts val="2600"/>
        </a:spcAft>
        <a:buFontTx/>
        <a:buBlip>
          <a:blip r:embed="rId11"/>
        </a:buBlip>
        <a:defRPr sz="3000" spc="-110" baseline="0">
          <a:latin typeface="+mn-lt"/>
          <a:ea typeface="+mn-ea"/>
          <a:cs typeface="+mn-cs"/>
        </a:defRPr>
      </a:lvl4pPr>
      <a:lvl5pPr marL="1763919" indent="-251989">
        <a:lnSpc>
          <a:spcPct val="86000"/>
        </a:lnSpc>
        <a:spcAft>
          <a:spcPts val="1501"/>
        </a:spcAft>
        <a:buFontTx/>
        <a:buBlip>
          <a:blip r:embed="rId11"/>
        </a:buBlip>
        <a:defRPr sz="2800" spc="-110" baseline="0"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79">
        <a:defRPr>
          <a:latin typeface="+mn-lt"/>
          <a:ea typeface="+mn-ea"/>
          <a:cs typeface="+mn-cs"/>
        </a:defRPr>
      </a:lvl2pPr>
      <a:lvl3pPr marL="914357">
        <a:defRPr>
          <a:latin typeface="+mn-lt"/>
          <a:ea typeface="+mn-ea"/>
          <a:cs typeface="+mn-cs"/>
        </a:defRPr>
      </a:lvl3pPr>
      <a:lvl4pPr marL="1371536">
        <a:defRPr>
          <a:latin typeface="+mn-lt"/>
          <a:ea typeface="+mn-ea"/>
          <a:cs typeface="+mn-cs"/>
        </a:defRPr>
      </a:lvl4pPr>
      <a:lvl5pPr marL="1828715">
        <a:defRPr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3567F9F-6508-454A-8802-5D7313CD98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16746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7" y="3401568"/>
            <a:ext cx="17616567" cy="59869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3999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1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17616567" cy="2043641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6" y="9528510"/>
            <a:ext cx="1302291" cy="12512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</p:spTree>
    <p:extLst>
      <p:ext uri="{BB962C8B-B14F-4D97-AF65-F5344CB8AC3E}">
        <p14:creationId xmlns:p14="http://schemas.microsoft.com/office/powerpoint/2010/main" val="30938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</p:sldLayoutIdLst>
  <p:hf sldNum="0" hdr="0"/>
  <p:txStyles>
    <p:titleStyle>
      <a:lvl1pPr>
        <a:lnSpc>
          <a:spcPct val="85000"/>
        </a:lnSpc>
        <a:defRPr sz="6449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584" indent="-345584">
        <a:lnSpc>
          <a:spcPct val="84000"/>
        </a:lnSpc>
        <a:spcAft>
          <a:spcPts val="2300"/>
        </a:spcAft>
        <a:buSzPct val="100000"/>
        <a:buFontTx/>
        <a:buBlip>
          <a:blip r:embed="rId11"/>
        </a:buBlip>
        <a:tabLst/>
        <a:defRPr sz="4249" spc="-110" baseline="0">
          <a:latin typeface="+mn-lt"/>
          <a:ea typeface="+mn-ea"/>
          <a:cs typeface="+mn-cs"/>
        </a:defRPr>
      </a:lvl1pPr>
      <a:lvl2pPr marL="755964" indent="-323986">
        <a:lnSpc>
          <a:spcPct val="84000"/>
        </a:lnSpc>
        <a:spcAft>
          <a:spcPts val="2399"/>
        </a:spcAft>
        <a:buFontTx/>
        <a:buBlip>
          <a:blip r:embed="rId11"/>
        </a:buBlip>
        <a:defRPr sz="3850" spc="-110" baseline="0">
          <a:latin typeface="+mn-lt"/>
          <a:ea typeface="+mn-ea"/>
          <a:cs typeface="+mn-cs"/>
        </a:defRPr>
      </a:lvl2pPr>
      <a:lvl3pPr marL="1115948" indent="-287986">
        <a:lnSpc>
          <a:spcPct val="84000"/>
        </a:lnSpc>
        <a:spcAft>
          <a:spcPts val="2500"/>
        </a:spcAft>
        <a:buFontTx/>
        <a:buBlip>
          <a:blip r:embed="rId11"/>
        </a:buBlip>
        <a:defRPr sz="3400" spc="-110" baseline="0">
          <a:latin typeface="+mn-lt"/>
          <a:ea typeface="+mn-ea"/>
          <a:cs typeface="+mn-cs"/>
        </a:defRPr>
      </a:lvl3pPr>
      <a:lvl4pPr marL="1457932" indent="-259188">
        <a:lnSpc>
          <a:spcPct val="84000"/>
        </a:lnSpc>
        <a:spcAft>
          <a:spcPts val="2600"/>
        </a:spcAft>
        <a:buFontTx/>
        <a:buBlip>
          <a:blip r:embed="rId11"/>
        </a:buBlip>
        <a:defRPr sz="3000" spc="-110" baseline="0">
          <a:latin typeface="+mn-lt"/>
          <a:ea typeface="+mn-ea"/>
          <a:cs typeface="+mn-cs"/>
        </a:defRPr>
      </a:lvl4pPr>
      <a:lvl5pPr marL="1763919" indent="-251989">
        <a:lnSpc>
          <a:spcPct val="86000"/>
        </a:lnSpc>
        <a:spcAft>
          <a:spcPts val="1501"/>
        </a:spcAft>
        <a:buFontTx/>
        <a:buBlip>
          <a:blip r:embed="rId11"/>
        </a:buBlip>
        <a:defRPr sz="2800" spc="-110" baseline="0"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79">
        <a:defRPr>
          <a:latin typeface="+mn-lt"/>
          <a:ea typeface="+mn-ea"/>
          <a:cs typeface="+mn-cs"/>
        </a:defRPr>
      </a:lvl2pPr>
      <a:lvl3pPr marL="914357">
        <a:defRPr>
          <a:latin typeface="+mn-lt"/>
          <a:ea typeface="+mn-ea"/>
          <a:cs typeface="+mn-cs"/>
        </a:defRPr>
      </a:lvl3pPr>
      <a:lvl4pPr marL="1371536">
        <a:defRPr>
          <a:latin typeface="+mn-lt"/>
          <a:ea typeface="+mn-ea"/>
          <a:cs typeface="+mn-cs"/>
        </a:defRPr>
      </a:lvl4pPr>
      <a:lvl5pPr marL="1828715">
        <a:defRPr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1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egionvastmanland.se/arbeten" TargetMode="External"/><Relationship Id="rId2" Type="http://schemas.openxmlformats.org/officeDocument/2006/relationships/hyperlink" Target="mailto:nytt.akutsjukhus@regionvastmanland.se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3.jpeg"/><Relationship Id="rId4" Type="http://schemas.openxmlformats.org/officeDocument/2006/relationships/hyperlink" Target="http://www.regionvastmanland.se/akutsjukhusetvastera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7E0C29AE-B300-10AB-257B-4BCBC6C295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3013" y="2886025"/>
            <a:ext cx="13635037" cy="3409950"/>
          </a:xfrm>
        </p:spPr>
        <p:txBody>
          <a:bodyPr>
            <a:normAutofit/>
          </a:bodyPr>
          <a:lstStyle/>
          <a:p>
            <a:br>
              <a:rPr lang="sv-SE" sz="9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sv-SE" sz="9600" dirty="0">
                <a:solidFill>
                  <a:schemeClr val="accent1">
                    <a:lumMod val="75000"/>
                  </a:schemeClr>
                </a:solidFill>
              </a:rPr>
              <a:t>APT-kit - Kvartal 2, 2024</a:t>
            </a:r>
            <a:br>
              <a:rPr lang="sv-SE" sz="9600" dirty="0">
                <a:solidFill>
                  <a:schemeClr val="accent1">
                    <a:lumMod val="75000"/>
                  </a:schemeClr>
                </a:solidFill>
              </a:rPr>
            </a:br>
            <a:endParaRPr lang="sv-SE" sz="7000" dirty="0"/>
          </a:p>
        </p:txBody>
      </p:sp>
      <p:sp>
        <p:nvSpPr>
          <p:cNvPr id="2" name="Underrubrik 1">
            <a:extLst>
              <a:ext uri="{FF2B5EF4-FFF2-40B4-BE49-F238E27FC236}">
                <a16:creationId xmlns:a16="http://schemas.microsoft.com/office/drawing/2014/main" id="{2C27266D-3864-0A2A-AABD-D9FE366FC64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sz="4800" dirty="0">
                <a:solidFill>
                  <a:schemeClr val="accent1">
                    <a:lumMod val="75000"/>
                  </a:schemeClr>
                </a:solidFill>
              </a:rPr>
              <a:t>Region Västmanlands nya akutsjukhus i Västerås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302082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9EF60882-03D0-7F6B-ED12-6477948EF47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sv-SE" sz="4000" b="1" dirty="0"/>
              <a:t>Vårdbyggnad:</a:t>
            </a:r>
          </a:p>
          <a:p>
            <a:pPr lvl="1"/>
            <a:r>
              <a:rPr lang="sv-SE" sz="3600" dirty="0"/>
              <a:t>Produktion pågår enligt plan, schaktarbeten, pålning, grundarbeten, gjutning av platta och väggar samt stommontage 86-87.</a:t>
            </a:r>
          </a:p>
          <a:p>
            <a:pPr lvl="1"/>
            <a:r>
              <a:rPr lang="sv-SE" sz="3600" dirty="0"/>
              <a:t>Stomme 88-89 startar i augusti.</a:t>
            </a:r>
            <a:endParaRPr lang="sv-SE" sz="4000" b="0" baseline="0" dirty="0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sv-SE" sz="4000" b="1" i="0" dirty="0">
                <a:solidFill>
                  <a:srgbClr val="000000"/>
                </a:solidFill>
                <a:effectLst/>
              </a:rPr>
              <a:t>Konst</a:t>
            </a:r>
            <a:r>
              <a:rPr lang="sv-SE" sz="4000" b="0" i="0" dirty="0">
                <a:solidFill>
                  <a:srgbClr val="000000"/>
                </a:solidFill>
                <a:effectLst/>
              </a:rPr>
              <a:t>: en konstkonsult är anlitad för stöd i arbetet med konsten i det nya akutsjukhuset</a:t>
            </a:r>
          </a:p>
          <a:p>
            <a:pPr algn="l" rtl="0"/>
            <a:r>
              <a:rPr lang="sv-SE" sz="4000" b="1" dirty="0">
                <a:solidFill>
                  <a:srgbClr val="000000"/>
                </a:solidFill>
              </a:rPr>
              <a:t>Utrustning</a:t>
            </a:r>
            <a:r>
              <a:rPr lang="sv-SE" sz="4000" dirty="0">
                <a:solidFill>
                  <a:srgbClr val="000000"/>
                </a:solidFill>
              </a:rPr>
              <a:t>: Upphandling av utrustning fortsätter enligt plan.</a:t>
            </a:r>
            <a:endParaRPr lang="sv-SE" sz="4000" b="0" baseline="0" dirty="0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sv-SE" sz="4000" dirty="0">
              <a:solidFill>
                <a:srgbClr val="000000"/>
              </a:solidFill>
            </a:endParaRP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3FECC664-4811-581B-4113-DB5A0B32BF7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Autofit/>
          </a:bodyPr>
          <a:lstStyle/>
          <a:p>
            <a:pPr algn="l" rtl="0"/>
            <a:r>
              <a:rPr lang="sv-SE" sz="4000" b="1" dirty="0">
                <a:solidFill>
                  <a:srgbClr val="000000"/>
                </a:solidFill>
              </a:rPr>
              <a:t>Verksamhetsstöd</a:t>
            </a:r>
            <a:r>
              <a:rPr lang="sv-SE" sz="4000" dirty="0">
                <a:solidFill>
                  <a:srgbClr val="000000"/>
                </a:solidFill>
              </a:rPr>
              <a:t>: Arbete pågår tillsammans med Fastighet- och serviceförvaltningen med bland annat </a:t>
            </a:r>
            <a:r>
              <a:rPr lang="sv-SE" sz="4000" dirty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t>d</a:t>
            </a:r>
            <a:r>
              <a:rPr lang="sv-SE" sz="4000" b="0" baseline="0" dirty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t>riftsättningsplaner och verksamhetsutveckling.</a:t>
            </a:r>
          </a:p>
          <a:p>
            <a:r>
              <a:rPr lang="sv-SE" sz="4000" b="1" dirty="0"/>
              <a:t>Vårdverksamhet</a:t>
            </a:r>
            <a:r>
              <a:rPr lang="sv-SE" sz="4000" dirty="0"/>
              <a:t>: </a:t>
            </a:r>
          </a:p>
          <a:p>
            <a:pPr lvl="1"/>
            <a:r>
              <a:rPr lang="sv-SE" sz="4000" dirty="0"/>
              <a:t>Start verksamhetsutveckling delprojekt Vårdavdelningar.</a:t>
            </a:r>
          </a:p>
          <a:p>
            <a:pPr lvl="1"/>
            <a:r>
              <a:rPr lang="sv-SE" sz="4000" b="0" dirty="0">
                <a:solidFill>
                  <a:srgbClr val="000000"/>
                </a:solidFill>
                <a:effectLst/>
              </a:rPr>
              <a:t>Allokering av öppenvård pågår </a:t>
            </a:r>
          </a:p>
          <a:p>
            <a:pPr lvl="1"/>
            <a:r>
              <a:rPr lang="sv-SE" sz="4000" b="0" dirty="0">
                <a:solidFill>
                  <a:srgbClr val="000000"/>
                </a:solidFill>
                <a:effectLst/>
              </a:rPr>
              <a:t>Verksamhetsutvecklingsprojekten löper enligt tidplan</a:t>
            </a:r>
          </a:p>
          <a:p>
            <a:pPr lvl="1"/>
            <a:endParaRPr lang="sv-SE" sz="4000" dirty="0"/>
          </a:p>
          <a:p>
            <a:endParaRPr lang="sv-SE" sz="4000" dirty="0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F609E860-5904-A87C-CE27-05B1F198A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rojekten</a:t>
            </a:r>
          </a:p>
        </p:txBody>
      </p:sp>
    </p:spTree>
    <p:extLst>
      <p:ext uri="{BB962C8B-B14F-4D97-AF65-F5344CB8AC3E}">
        <p14:creationId xmlns:p14="http://schemas.microsoft.com/office/powerpoint/2010/main" val="23046434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3">
            <a:extLst>
              <a:ext uri="{FF2B5EF4-FFF2-40B4-BE49-F238E27FC236}">
                <a16:creationId xmlns:a16="http://schemas.microsoft.com/office/drawing/2014/main" id="{A25B821B-E7EA-2622-82DA-2EA14033BF7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6994" y="3443501"/>
            <a:ext cx="8638421" cy="6891693"/>
          </a:xfrm>
        </p:spPr>
        <p:txBody>
          <a:bodyPr>
            <a:normAutofit/>
          </a:bodyPr>
          <a:lstStyle/>
          <a:p>
            <a:pPr marL="1116000" marR="0" lvl="2" indent="-345600" defTabSz="914400" eaLnBrk="1" fontAlgn="auto" latinLnBrk="0" hangingPunct="1">
              <a:lnSpc>
                <a:spcPct val="84000"/>
              </a:lnSpc>
              <a:spcBef>
                <a:spcPts val="0"/>
              </a:spcBef>
              <a:spcAft>
                <a:spcPts val="2300"/>
              </a:spcAft>
              <a:buClrTx/>
              <a:buSzPct val="100000"/>
              <a:buFontTx/>
              <a:buBlip>
                <a:blip r:embed="rId3"/>
              </a:buBlip>
              <a:tabLst/>
              <a:defRPr/>
            </a:pPr>
            <a:r>
              <a:rPr kumimoji="0" lang="sv-SE" sz="4000" b="1" i="0" u="none" strike="noStrike" kern="0" cap="none" spc="-1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lacering</a:t>
            </a:r>
            <a:r>
              <a:rPr kumimoji="0" lang="sv-SE" sz="4000" b="0" i="0" u="none" strike="noStrike" kern="0" cap="none" spc="-1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öster om nya akutsjukhuset</a:t>
            </a:r>
          </a:p>
          <a:p>
            <a:pPr marL="1116000" marR="0" lvl="2" indent="-345600" defTabSz="914400" eaLnBrk="1" fontAlgn="auto" latinLnBrk="0" hangingPunct="1">
              <a:lnSpc>
                <a:spcPct val="84000"/>
              </a:lnSpc>
              <a:spcBef>
                <a:spcPts val="0"/>
              </a:spcBef>
              <a:spcAft>
                <a:spcPts val="2300"/>
              </a:spcAft>
              <a:buClrTx/>
              <a:buSzPct val="100000"/>
              <a:buFontTx/>
              <a:buBlip>
                <a:blip r:embed="rId3"/>
              </a:buBlip>
              <a:tabLst/>
              <a:defRPr/>
            </a:pPr>
            <a:r>
              <a:rPr lang="sv-SE" sz="4000" b="1" dirty="0">
                <a:latin typeface="Calibri Light"/>
              </a:rPr>
              <a:t>Yta</a:t>
            </a:r>
            <a:r>
              <a:rPr lang="sv-SE" sz="4000" dirty="0">
                <a:latin typeface="Calibri Light"/>
              </a:rPr>
              <a:t>: cirka 11000m²</a:t>
            </a:r>
          </a:p>
          <a:p>
            <a:pPr marL="1116000" marR="0" lvl="2" indent="-345600" defTabSz="914400" eaLnBrk="1" fontAlgn="auto" latinLnBrk="0" hangingPunct="1">
              <a:lnSpc>
                <a:spcPct val="84000"/>
              </a:lnSpc>
              <a:spcBef>
                <a:spcPts val="0"/>
              </a:spcBef>
              <a:spcAft>
                <a:spcPts val="2300"/>
              </a:spcAft>
              <a:buClrTx/>
              <a:buSzPct val="100000"/>
              <a:buFontTx/>
              <a:buBlip>
                <a:blip r:embed="rId3"/>
              </a:buBlip>
              <a:tabLst/>
              <a:defRPr/>
            </a:pPr>
            <a:r>
              <a:rPr lang="sv-SE" sz="4000" b="1" dirty="0">
                <a:latin typeface="Calibri Light"/>
              </a:rPr>
              <a:t>Verksamheter</a:t>
            </a:r>
            <a:r>
              <a:rPr lang="sv-SE" sz="4000" dirty="0">
                <a:latin typeface="Calibri Light"/>
              </a:rPr>
              <a:t>: Diagnostik bland annat Fysiologen, Onkologen, Sjukvårdsfarmaci.</a:t>
            </a:r>
          </a:p>
          <a:p>
            <a:pPr marL="1116000" marR="0" lvl="2" indent="-345600" defTabSz="914400" eaLnBrk="1" fontAlgn="auto" latinLnBrk="0" hangingPunct="1">
              <a:lnSpc>
                <a:spcPct val="84000"/>
              </a:lnSpc>
              <a:spcBef>
                <a:spcPts val="0"/>
              </a:spcBef>
              <a:spcAft>
                <a:spcPts val="2300"/>
              </a:spcAft>
              <a:buClrTx/>
              <a:buSzPct val="100000"/>
              <a:buFontTx/>
              <a:buBlip>
                <a:blip r:embed="rId3"/>
              </a:buBlip>
              <a:tabLst/>
              <a:defRPr/>
            </a:pPr>
            <a:r>
              <a:rPr lang="sv-SE" sz="4000" b="1" dirty="0">
                <a:latin typeface="Calibri Light"/>
              </a:rPr>
              <a:t>Beslut</a:t>
            </a:r>
            <a:r>
              <a:rPr lang="sv-SE" sz="4000" dirty="0">
                <a:latin typeface="Calibri Light"/>
              </a:rPr>
              <a:t> om genomförande tas i juni 2025</a:t>
            </a:r>
          </a:p>
          <a:p>
            <a:pPr lvl="2" indent="-345600">
              <a:spcAft>
                <a:spcPts val="2300"/>
              </a:spcAft>
              <a:buSzPct val="100000"/>
              <a:buBlip>
                <a:blip r:embed="rId3"/>
              </a:buBlip>
              <a:defRPr/>
            </a:pPr>
            <a:r>
              <a:rPr lang="sv-SE" sz="4000" dirty="0">
                <a:latin typeface="Calibri Light"/>
              </a:rPr>
              <a:t>Uppdraget är förankrat i alla verksamheter.</a:t>
            </a:r>
          </a:p>
          <a:p>
            <a:pPr lvl="2" indent="-345600">
              <a:spcAft>
                <a:spcPts val="2300"/>
              </a:spcAft>
              <a:buSzPct val="100000"/>
              <a:buBlip>
                <a:blip r:embed="rId3"/>
              </a:buBlip>
              <a:defRPr/>
            </a:pPr>
            <a:r>
              <a:rPr lang="sv-SE" sz="4000" dirty="0">
                <a:latin typeface="Calibri Light"/>
              </a:rPr>
              <a:t>Arbetet med systemhandling pågår.</a:t>
            </a:r>
          </a:p>
          <a:p>
            <a:pPr marL="1116000" marR="0" lvl="2" indent="-345600" defTabSz="914400" eaLnBrk="1" fontAlgn="auto" latinLnBrk="0" hangingPunct="1">
              <a:lnSpc>
                <a:spcPct val="84000"/>
              </a:lnSpc>
              <a:spcBef>
                <a:spcPts val="0"/>
              </a:spcBef>
              <a:spcAft>
                <a:spcPts val="2300"/>
              </a:spcAft>
              <a:buClrTx/>
              <a:buSzPct val="100000"/>
              <a:buFontTx/>
              <a:buBlip>
                <a:blip r:embed="rId3"/>
              </a:buBlip>
              <a:tabLst/>
              <a:defRPr/>
            </a:pPr>
            <a:endParaRPr lang="sv-SE" dirty="0">
              <a:latin typeface="Calibri Light"/>
            </a:endParaRPr>
          </a:p>
          <a:p>
            <a:pPr lvl="2" indent="-345600">
              <a:spcAft>
                <a:spcPts val="2300"/>
              </a:spcAft>
              <a:buSzPct val="100000"/>
              <a:defRPr/>
            </a:pPr>
            <a:endParaRPr lang="sv-SE" dirty="0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69ADD657-F893-D67D-4B9F-43B59F86CFA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1E855AAC-3398-C395-C9DF-9CB2A03FF1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tapp 2, byggnad 95</a:t>
            </a: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2D78968A-1D3D-4930-B720-C2732A7DAC22}"/>
              </a:ext>
            </a:extLst>
          </p:cNvPr>
          <p:cNvSpPr txBox="1"/>
          <p:nvPr/>
        </p:nvSpPr>
        <p:spPr>
          <a:xfrm>
            <a:off x="16199878" y="284793"/>
            <a:ext cx="390422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ROGRAM NYTT AKUTSJUKHUS VÄSTERÅ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RBETSMATERIAL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E52F441B-6F28-4895-95BF-698F7342FA21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8874547" y="669514"/>
            <a:ext cx="838456" cy="1049449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E0A25177-458D-4769-AF3C-49BDC4C05C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907109" y="614114"/>
            <a:ext cx="794013" cy="1144719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59960C02-426D-5894-5433-B6D3D4012F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31970" y="2519101"/>
            <a:ext cx="9232608" cy="7379527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BBCD3161-FDFA-D949-9F79-3D034A21C7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13996846" y="6246383"/>
            <a:ext cx="1847248" cy="1383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6039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8E2BD8B6-4BDC-CF70-E828-0844F5208D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98603" y="1817171"/>
            <a:ext cx="12314233" cy="8294508"/>
          </a:xfrm>
          <a:prstGeom prst="rect">
            <a:avLst/>
          </a:prstGeom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EEE87C9-6248-442A-9890-1309A5F749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EEE87C9-6248-442A-9890-1309A5F749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ktangel 11">
            <a:extLst>
              <a:ext uri="{FF2B5EF4-FFF2-40B4-BE49-F238E27FC236}">
                <a16:creationId xmlns:a16="http://schemas.microsoft.com/office/drawing/2014/main" id="{CA7F4E3A-B7C9-4420-8ECE-6FBC88BC66B9}"/>
              </a:ext>
            </a:extLst>
          </p:cNvPr>
          <p:cNvSpPr/>
          <p:nvPr/>
        </p:nvSpPr>
        <p:spPr>
          <a:xfrm>
            <a:off x="17828550" y="9304339"/>
            <a:ext cx="2088225" cy="1724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9" name="Rektangel 158" hidden="1">
            <a:extLst>
              <a:ext uri="{FF2B5EF4-FFF2-40B4-BE49-F238E27FC236}">
                <a16:creationId xmlns:a16="http://schemas.microsoft.com/office/drawing/2014/main" id="{1FF38A07-21B3-4FD2-9C63-B3920E5C981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13" name="Platshållare för innehåll 12">
            <a:extLst>
              <a:ext uri="{FF2B5EF4-FFF2-40B4-BE49-F238E27FC236}">
                <a16:creationId xmlns:a16="http://schemas.microsoft.com/office/drawing/2014/main" id="{739A3F31-ADB1-B5FB-D285-61F46CB39C2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14" name="Platshållare för innehåll 13">
            <a:extLst>
              <a:ext uri="{FF2B5EF4-FFF2-40B4-BE49-F238E27FC236}">
                <a16:creationId xmlns:a16="http://schemas.microsoft.com/office/drawing/2014/main" id="{6C53F65B-3867-8872-A68A-ECB8F275FEC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B3827B74-3BF9-4280-83B1-7650B91F8B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sv-S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lang="sv-SE" smtClean="0"/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9" name="Rubrik 2">
            <a:extLst>
              <a:ext uri="{FF2B5EF4-FFF2-40B4-BE49-F238E27FC236}">
                <a16:creationId xmlns:a16="http://schemas.microsoft.com/office/drawing/2014/main" id="{14D549BB-02CD-40CE-B2DC-C9843A65B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rmAutofit/>
          </a:bodyPr>
          <a:lstStyle/>
          <a:p>
            <a:r>
              <a:rPr lang="sv-SE" sz="6600" dirty="0"/>
              <a:t>Placering av vårdbyggnaden i etapp 2</a:t>
            </a:r>
          </a:p>
        </p:txBody>
      </p:sp>
      <p:sp>
        <p:nvSpPr>
          <p:cNvPr id="3" name="Ellips 2">
            <a:extLst>
              <a:ext uri="{FF2B5EF4-FFF2-40B4-BE49-F238E27FC236}">
                <a16:creationId xmlns:a16="http://schemas.microsoft.com/office/drawing/2014/main" id="{D79322DB-2714-DE1E-6545-F3976C8A30AE}"/>
              </a:ext>
            </a:extLst>
          </p:cNvPr>
          <p:cNvSpPr/>
          <p:nvPr/>
        </p:nvSpPr>
        <p:spPr>
          <a:xfrm rot="19751857">
            <a:off x="8732286" y="4530636"/>
            <a:ext cx="2052741" cy="1035688"/>
          </a:xfrm>
          <a:prstGeom prst="ellipse">
            <a:avLst/>
          </a:prstGeom>
          <a:solidFill>
            <a:srgbClr val="33CCFF">
              <a:alpha val="56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EA6E442E-FD99-1760-E9C1-5434780E6C1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0800000">
            <a:off x="387995" y="2247520"/>
            <a:ext cx="6856498" cy="8294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4546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3528630-6368-4835-8FF8-E42C0A07A1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53528630-6368-4835-8FF8-E42C0A07A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ubrik 2">
            <a:extLst>
              <a:ext uri="{FF2B5EF4-FFF2-40B4-BE49-F238E27FC236}">
                <a16:creationId xmlns:a16="http://schemas.microsoft.com/office/drawing/2014/main" id="{297267C0-A84D-4DA2-AEC6-561A015B5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3058" y="939901"/>
            <a:ext cx="17616567" cy="1187268"/>
          </a:xfrm>
        </p:spPr>
        <p:txBody>
          <a:bodyPr vert="horz" anchor="t">
            <a:normAutofit fontScale="90000"/>
          </a:bodyPr>
          <a:lstStyle/>
          <a:p>
            <a:r>
              <a:rPr lang="sv-SE" sz="5400" dirty="0"/>
              <a:t>Skiss på hur den nya vårdbyggnaden förväntas se ut v 25. 2024 (prognos)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75F0A439-C836-D6E5-1502-88C11DC1B0E4}"/>
              </a:ext>
            </a:extLst>
          </p:cNvPr>
          <p:cNvSpPr txBox="1"/>
          <p:nvPr/>
        </p:nvSpPr>
        <p:spPr>
          <a:xfrm>
            <a:off x="16199878" y="38051"/>
            <a:ext cx="390422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ROGRAM NYTT AKUTSJUKHUS VÄSTERÅ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RBETSMATERIAL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AA1227C0-DBC1-49F4-A751-EB3CFCF414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843562" y="422771"/>
            <a:ext cx="722004" cy="1040904"/>
          </a:xfrm>
          <a:prstGeom prst="rect">
            <a:avLst/>
          </a:prstGeom>
        </p:spPr>
      </p:pic>
      <p:sp>
        <p:nvSpPr>
          <p:cNvPr id="6" name="textruta 5">
            <a:extLst>
              <a:ext uri="{FF2B5EF4-FFF2-40B4-BE49-F238E27FC236}">
                <a16:creationId xmlns:a16="http://schemas.microsoft.com/office/drawing/2014/main" id="{FAAC2EFC-D2D5-91F1-C122-A9DE2BC41227}"/>
              </a:ext>
            </a:extLst>
          </p:cNvPr>
          <p:cNvSpPr txBox="1"/>
          <p:nvPr/>
        </p:nvSpPr>
        <p:spPr>
          <a:xfrm>
            <a:off x="8748185" y="80496"/>
            <a:ext cx="19519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Uppdaterad 2024-02-19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601862FD-3A09-27D8-EB07-AEA73E38BA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64475" y="1766243"/>
            <a:ext cx="14396049" cy="915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7472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B440B839-3DE8-463C-8ACD-C0B4249D9A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sv-SE" sz="3500" dirty="0"/>
              <a:t>Veckomöten om kommande arbeten på sjukhusområdet äger rum måndagar </a:t>
            </a:r>
            <a:br>
              <a:rPr lang="sv-SE" sz="3500" dirty="0"/>
            </a:br>
            <a:r>
              <a:rPr lang="sv-SE" sz="3500" dirty="0"/>
              <a:t>kl. 12.45-13.00. Alla berörda verksamheter är välkomna att medverka. Kontakta oss om du vill bli inbjuden: </a:t>
            </a:r>
            <a:r>
              <a:rPr lang="sv-SE" sz="3500" dirty="0">
                <a:hlinkClick r:id="rId2"/>
              </a:rPr>
              <a:t>nytt.akutsjukhus@regionvastmanland.se</a:t>
            </a:r>
            <a:endParaRPr lang="sv-SE" sz="3500" dirty="0"/>
          </a:p>
          <a:p>
            <a:pPr marL="0" indent="0">
              <a:buNone/>
            </a:pPr>
            <a:r>
              <a:rPr lang="sv-SE" sz="3500" dirty="0"/>
              <a:t>Pågående och planerade arbeten samt aktuell karta:</a:t>
            </a:r>
            <a:br>
              <a:rPr lang="sv-SE" sz="3500" dirty="0"/>
            </a:br>
            <a:r>
              <a:rPr lang="sv-SE" sz="3500" dirty="0">
                <a:hlinkClick r:id="rId3"/>
              </a:rPr>
              <a:t>www.regionvastmanland.se/arbeten</a:t>
            </a:r>
            <a:endParaRPr lang="sv-SE" sz="3500" dirty="0"/>
          </a:p>
          <a:p>
            <a:pPr marL="0" indent="0">
              <a:buNone/>
            </a:pPr>
            <a:r>
              <a:rPr lang="sv-SE" sz="3500" dirty="0"/>
              <a:t>Följ oss gärna på Linkedin! (sök: Region Västmanland)</a:t>
            </a:r>
          </a:p>
          <a:p>
            <a:pPr marL="0" indent="0">
              <a:buNone/>
            </a:pPr>
            <a:r>
              <a:rPr lang="sv-SE" sz="3500" dirty="0"/>
              <a:t>Vill du läsa mer om nya akutsjukhuset, följa oss via webbkameran och anmäla dig till nyhetsbrevet: </a:t>
            </a:r>
            <a:r>
              <a:rPr lang="sv-SE" sz="3500" dirty="0">
                <a:hlinkClick r:id="rId4"/>
              </a:rPr>
              <a:t>www.regionvastmanland.se/akutsjukhusetvasteras</a:t>
            </a:r>
            <a:endParaRPr lang="sv-SE" sz="3500" dirty="0"/>
          </a:p>
          <a:p>
            <a:pPr marL="0" indent="0">
              <a:buNone/>
            </a:pPr>
            <a:endParaRPr lang="sv-SE" sz="3500" dirty="0"/>
          </a:p>
        </p:txBody>
      </p:sp>
      <p:sp>
        <p:nvSpPr>
          <p:cNvPr id="6" name="Rubrik 2">
            <a:extLst>
              <a:ext uri="{FF2B5EF4-FFF2-40B4-BE49-F238E27FC236}">
                <a16:creationId xmlns:a16="http://schemas.microsoft.com/office/drawing/2014/main" id="{A75171E0-99F2-4F24-AA44-46FBED854E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1227047"/>
            <a:ext cx="17616567" cy="2043642"/>
          </a:xfrm>
        </p:spPr>
        <p:txBody>
          <a:bodyPr anchor="b">
            <a:normAutofit/>
          </a:bodyPr>
          <a:lstStyle/>
          <a:p>
            <a:r>
              <a:rPr lang="sv-SE" dirty="0"/>
              <a:t>Kontakt och mer information</a:t>
            </a:r>
          </a:p>
        </p:txBody>
      </p:sp>
      <p:pic>
        <p:nvPicPr>
          <p:cNvPr id="8" name="Platshållare för innehåll 7" descr="En bild som visar utomhus, byggnad, fotbeklädnader, träd&#10;&#10;Automatiskt genererad beskrivning">
            <a:extLst>
              <a:ext uri="{FF2B5EF4-FFF2-40B4-BE49-F238E27FC236}">
                <a16:creationId xmlns:a16="http://schemas.microsoft.com/office/drawing/2014/main" id="{F58BFCBB-AFA6-823B-8F53-EF76E742671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38" r="4251"/>
          <a:stretch/>
        </p:blipFill>
        <p:spPr>
          <a:xfrm>
            <a:off x="10221911" y="3406775"/>
            <a:ext cx="8638421" cy="5976000"/>
          </a:xfrm>
          <a:noFill/>
        </p:spPr>
      </p:pic>
    </p:spTree>
    <p:extLst>
      <p:ext uri="{BB962C8B-B14F-4D97-AF65-F5344CB8AC3E}">
        <p14:creationId xmlns:p14="http://schemas.microsoft.com/office/powerpoint/2010/main" val="2461927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8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5.12579511000000032084E+00&quot;&gt;&lt;m_msothmcolidx val=&quot;0&quot;/&gt;&lt;m_rgb r=&quot;F5&quot; g=&quot;16&quot; b=&quot;3E&quot;/&gt;&lt;/elem&gt;&lt;elem m_fUsage=&quot;1.00000000000000000000E+00&quot;&gt;&lt;m_msothmcolidx val=&quot;0&quot;/&gt;&lt;m_rgb r=&quot;13&quot; g=&quot;7C&quot; b=&quot;AA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sdDVhRQaA_Kq8sQwtgAg"/>
</p:tagLst>
</file>

<file path=ppt/theme/theme1.xml><?xml version="1.0" encoding="utf-8"?>
<a:theme xmlns:a="http://schemas.openxmlformats.org/drawingml/2006/main" name="Region Västmanland Rosa">
  <a:themeElements>
    <a:clrScheme name="Region Västmanland Rosa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670F3B"/>
      </a:accent1>
      <a:accent2>
        <a:srgbClr val="4B467D"/>
      </a:accent2>
      <a:accent3>
        <a:srgbClr val="339D94"/>
      </a:accent3>
      <a:accent4>
        <a:srgbClr val="3C82AF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490B3DC2-1C21-4AD3-8AA8-92AD57160BB3}"/>
    </a:ext>
  </a:extLst>
</a:theme>
</file>

<file path=ppt/theme/theme2.xml><?xml version="1.0" encoding="utf-8"?>
<a:theme xmlns:a="http://schemas.openxmlformats.org/drawingml/2006/main" name="Region Västmanland Blå">
  <a:themeElements>
    <a:clrScheme name="Region Västmanland Blå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C82AF"/>
      </a:accent1>
      <a:accent2>
        <a:srgbClr val="4B467D"/>
      </a:accent2>
      <a:accent3>
        <a:srgbClr val="339D94"/>
      </a:accent3>
      <a:accent4>
        <a:srgbClr val="670F3B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A8D3AED5-7DAD-443E-A4A2-D6D152DCBF62}"/>
    </a:ext>
  </a:extLst>
</a:theme>
</file>

<file path=ppt/theme/theme3.xml><?xml version="1.0" encoding="utf-8"?>
<a:theme xmlns:a="http://schemas.openxmlformats.org/drawingml/2006/main" name="Region Västmanland Grön">
  <a:themeElements>
    <a:clrScheme name="Region Västmanland Grön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39D94"/>
      </a:accent1>
      <a:accent2>
        <a:srgbClr val="4B467D"/>
      </a:accent2>
      <a:accent3>
        <a:srgbClr val="670F3B"/>
      </a:accent3>
      <a:accent4>
        <a:srgbClr val="3C82AF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99C9B2C5-06FC-453C-BD19-6B795198C746}"/>
    </a:ext>
  </a:extLst>
</a:theme>
</file>

<file path=ppt/theme/theme4.xml><?xml version="1.0" encoding="utf-8"?>
<a:theme xmlns:a="http://schemas.openxmlformats.org/drawingml/2006/main" name="1_Region Västmanland Blå">
  <a:themeElements>
    <a:clrScheme name="Region Västmanland Blå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C82AF"/>
      </a:accent1>
      <a:accent2>
        <a:srgbClr val="4B467D"/>
      </a:accent2>
      <a:accent3>
        <a:srgbClr val="339D94"/>
      </a:accent3>
      <a:accent4>
        <a:srgbClr val="670F3B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A8D3AED5-7DAD-443E-A4A2-D6D152DCBF62}"/>
    </a:ext>
  </a:extLst>
</a:theme>
</file>

<file path=ppt/theme/theme5.xml><?xml version="1.0" encoding="utf-8"?>
<a:theme xmlns:a="http://schemas.openxmlformats.org/drawingml/2006/main" name="2_Region Västmanland Blå">
  <a:themeElements>
    <a:clrScheme name="Region Västmanland Blå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C82AF"/>
      </a:accent1>
      <a:accent2>
        <a:srgbClr val="4B467D"/>
      </a:accent2>
      <a:accent3>
        <a:srgbClr val="339D94"/>
      </a:accent3>
      <a:accent4>
        <a:srgbClr val="670F3B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A8D3AED5-7DAD-443E-A4A2-D6D152DCBF62}"/>
    </a:ext>
  </a:extLst>
</a:theme>
</file>

<file path=ppt/theme/theme6.xml><?xml version="1.0" encoding="utf-8"?>
<a:theme xmlns:a="http://schemas.openxmlformats.org/drawingml/2006/main" name="3_Region Västmanland Blå">
  <a:themeElements>
    <a:clrScheme name="Region Västmanland Blå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C82AF"/>
      </a:accent1>
      <a:accent2>
        <a:srgbClr val="4B467D"/>
      </a:accent2>
      <a:accent3>
        <a:srgbClr val="339D94"/>
      </a:accent3>
      <a:accent4>
        <a:srgbClr val="670F3B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A8D3AED5-7DAD-443E-A4A2-D6D152DCBF62}"/>
    </a:ext>
  </a:extLst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Region Västmanland Grön">
    <a:dk1>
      <a:sysClr val="windowText" lastClr="000000"/>
    </a:dk1>
    <a:lt1>
      <a:sysClr val="window" lastClr="FFFFFF"/>
    </a:lt1>
    <a:dk2>
      <a:srgbClr val="7F7F7F"/>
    </a:dk2>
    <a:lt2>
      <a:srgbClr val="FFFFFF"/>
    </a:lt2>
    <a:accent1>
      <a:srgbClr val="339D94"/>
    </a:accent1>
    <a:accent2>
      <a:srgbClr val="4B467D"/>
    </a:accent2>
    <a:accent3>
      <a:srgbClr val="670F3B"/>
    </a:accent3>
    <a:accent4>
      <a:srgbClr val="3C82AF"/>
    </a:accent4>
    <a:accent5>
      <a:srgbClr val="F5AA3C"/>
    </a:accent5>
    <a:accent6>
      <a:srgbClr val="B2A39A"/>
    </a:accent6>
    <a:hlink>
      <a:srgbClr val="31599B"/>
    </a:hlink>
    <a:folHlink>
      <a:srgbClr val="7F7F7F"/>
    </a:folHlink>
  </a:clrScheme>
</a:themeOverride>
</file>

<file path=ppt/theme/themeOverride2.xml><?xml version="1.0" encoding="utf-8"?>
<a:themeOverride xmlns:a="http://schemas.openxmlformats.org/drawingml/2006/main">
  <a:clrScheme name="Region Västmanland Grön">
    <a:dk1>
      <a:sysClr val="windowText" lastClr="000000"/>
    </a:dk1>
    <a:lt1>
      <a:sysClr val="window" lastClr="FFFFFF"/>
    </a:lt1>
    <a:dk2>
      <a:srgbClr val="7F7F7F"/>
    </a:dk2>
    <a:lt2>
      <a:srgbClr val="FFFFFF"/>
    </a:lt2>
    <a:accent1>
      <a:srgbClr val="339D94"/>
    </a:accent1>
    <a:accent2>
      <a:srgbClr val="4B467D"/>
    </a:accent2>
    <a:accent3>
      <a:srgbClr val="670F3B"/>
    </a:accent3>
    <a:accent4>
      <a:srgbClr val="3C82AF"/>
    </a:accent4>
    <a:accent5>
      <a:srgbClr val="F5AA3C"/>
    </a:accent5>
    <a:accent6>
      <a:srgbClr val="B2A39A"/>
    </a:accent6>
    <a:hlink>
      <a:srgbClr val="31599B"/>
    </a:hlink>
    <a:folHlink>
      <a:srgbClr val="7F7F7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nnehåll baspresentation</Template>
  <TotalTime>19171</TotalTime>
  <Words>274</Words>
  <Application>Microsoft Office PowerPoint</Application>
  <PresentationFormat>Anpassad</PresentationFormat>
  <Paragraphs>35</Paragraphs>
  <Slides>6</Slides>
  <Notes>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2</vt:i4>
      </vt:variant>
      <vt:variant>
        <vt:lpstr>Tema</vt:lpstr>
      </vt:variant>
      <vt:variant>
        <vt:i4>6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6</vt:i4>
      </vt:variant>
    </vt:vector>
  </HeadingPairs>
  <TitlesOfParts>
    <vt:vector size="15" baseType="lpstr">
      <vt:lpstr>Calibri</vt:lpstr>
      <vt:lpstr>Calibri Light</vt:lpstr>
      <vt:lpstr>Region Västmanland Rosa</vt:lpstr>
      <vt:lpstr>Region Västmanland Blå</vt:lpstr>
      <vt:lpstr>Region Västmanland Grön</vt:lpstr>
      <vt:lpstr>1_Region Västmanland Blå</vt:lpstr>
      <vt:lpstr>2_Region Västmanland Blå</vt:lpstr>
      <vt:lpstr>3_Region Västmanland Blå</vt:lpstr>
      <vt:lpstr>think-cell Slide</vt:lpstr>
      <vt:lpstr> APT-kit - Kvartal 2, 2024 </vt:lpstr>
      <vt:lpstr>Projekten</vt:lpstr>
      <vt:lpstr>Etapp 2, byggnad 95</vt:lpstr>
      <vt:lpstr>Placering av vårdbyggnaden i etapp 2</vt:lpstr>
      <vt:lpstr>Skiss på hur den nya vårdbyggnaden förväntas se ut v 25. 2024 (prognos)</vt:lpstr>
      <vt:lpstr>Kontakt och mer inform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inställningar (bara för att förklara. Denna bild kan tas bort sedan)</dc:title>
  <dc:creator>Carina Sundqvist</dc:creator>
  <cp:lastModifiedBy>Carina Sundqvist</cp:lastModifiedBy>
  <cp:revision>1889</cp:revision>
  <dcterms:created xsi:type="dcterms:W3CDTF">2019-10-02T10:57:06Z</dcterms:created>
  <dcterms:modified xsi:type="dcterms:W3CDTF">2024-10-08T13:55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05-20T00:00:00Z</vt:filetime>
  </property>
  <property fmtid="{D5CDD505-2E9C-101B-9397-08002B2CF9AE}" pid="3" name="Creator">
    <vt:lpwstr>Adobe InDesign 14.0 (Macintosh)</vt:lpwstr>
  </property>
  <property fmtid="{D5CDD505-2E9C-101B-9397-08002B2CF9AE}" pid="4" name="LastSaved">
    <vt:filetime>2019-05-29T00:00:00Z</vt:filetime>
  </property>
</Properties>
</file>